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48" r:id="rId2"/>
  </p:sldMasterIdLst>
  <p:notesMasterIdLst>
    <p:notesMasterId r:id="rId13"/>
  </p:notesMasterIdLst>
  <p:sldIdLst>
    <p:sldId id="257" r:id="rId3"/>
    <p:sldId id="2147480825" r:id="rId4"/>
    <p:sldId id="2147480826" r:id="rId5"/>
    <p:sldId id="2147480822" r:id="rId6"/>
    <p:sldId id="2147480824" r:id="rId7"/>
    <p:sldId id="259" r:id="rId8"/>
    <p:sldId id="2147480821" r:id="rId9"/>
    <p:sldId id="2147480823" r:id="rId10"/>
    <p:sldId id="260" r:id="rId11"/>
    <p:sldId id="256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08C0C28-AB6A-03E7-0F21-11D408ACF8F6}" name="Alexis Ramirez" initials="AR" userId="S::alexis.ramirez@mystratis.com::a7c81f6c-ff5e-4a39-b2c7-6de722d1b62c" providerId="AD"/>
  <p188:author id="{C808758E-4C7B-7DAD-DE39-C6A1E281BDC2}" name="Leonor Torres Manzur" initials="LM" userId="S::leonor.torres@mystratis.com::61c19402-4410-4f63-bc5f-59dc73a7f535" providerId="AD"/>
  <p188:author id="{A68420B1-9B8D-F913-8779-26378408DEED}" name="Claudia Castañon Perez" initials="CP" userId="S::claudia.castanon@mystratis.com::6d571616-6e18-462e-b46e-0030f7d50bc8" providerId="AD"/>
  <p188:author id="{81A622DC-6FC4-B47B-7D8A-4DBD72A6872A}" name="Diego Enrique Islas Marure" initials="DI" userId="S::diego.islas@mystratis.com::42f2b6ca-5958-4a80-b4b2-d346b482c5c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F5073"/>
    <a:srgbClr val="F86F35"/>
    <a:srgbClr val="343DF2"/>
    <a:srgbClr val="F4F0F9"/>
    <a:srgbClr val="3B43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4D29A5-1B4D-4120-9499-4CD91F1BCD8B}" v="11" dt="2025-06-17T07:13:05.872"/>
    <p1510:client id="{372468A5-B374-A777-C309-6BF520D99743}" v="213" dt="2025-06-17T12:23:51.29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097" autoAdjust="0"/>
  </p:normalViewPr>
  <p:slideViewPr>
    <p:cSldViewPr snapToGrid="0">
      <p:cViewPr varScale="1">
        <p:scale>
          <a:sx n="83" d="100"/>
          <a:sy n="83" d="100"/>
        </p:scale>
        <p:origin x="658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fredo Sosa" userId="83509031-0ad5-40ad-b5b4-0a00e85eadc2" providerId="ADAL" clId="{1D4D29A5-1B4D-4120-9499-4CD91F1BCD8B}"/>
    <pc:docChg chg="undo redo custSel addSld delSld modSld sldOrd">
      <pc:chgData name="Alfredo Sosa" userId="83509031-0ad5-40ad-b5b4-0a00e85eadc2" providerId="ADAL" clId="{1D4D29A5-1B4D-4120-9499-4CD91F1BCD8B}" dt="2025-06-17T07:13:21.984" v="1122" actId="1076"/>
      <pc:docMkLst>
        <pc:docMk/>
      </pc:docMkLst>
      <pc:sldChg chg="addSp modSp add mod ord setBg">
        <pc:chgData name="Alfredo Sosa" userId="83509031-0ad5-40ad-b5b4-0a00e85eadc2" providerId="ADAL" clId="{1D4D29A5-1B4D-4120-9499-4CD91F1BCD8B}" dt="2025-06-17T07:05:40.317" v="1062" actId="20577"/>
        <pc:sldMkLst>
          <pc:docMk/>
          <pc:sldMk cId="52408957" sldId="256"/>
        </pc:sldMkLst>
        <pc:spChg chg="add 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2" creationId="{1B004263-5A8B-C995-734A-23C1AB8FD9B7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3" creationId="{081962B2-ADD6-993B-50FC-7EDDE7DBDC42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4" creationId="{DD29F5B5-46B5-F3AE-7746-073A2179BFB8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6" creationId="{F5BEF90D-7179-BCF1-DFD8-15A9D2896213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8" creationId="{F1033D92-017F-2B9B-9B04-D95AAC25A916}"/>
          </ac:spMkLst>
        </pc:spChg>
        <pc:spChg chg="mod">
          <ac:chgData name="Alfredo Sosa" userId="83509031-0ad5-40ad-b5b4-0a00e85eadc2" providerId="ADAL" clId="{1D4D29A5-1B4D-4120-9499-4CD91F1BCD8B}" dt="2025-06-17T07:05:40.317" v="1062" actId="20577"/>
          <ac:spMkLst>
            <pc:docMk/>
            <pc:sldMk cId="52408957" sldId="256"/>
            <ac:spMk id="10" creationId="{486EAE33-F98C-E278-FF4E-B6AF5ED77E69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12" creationId="{5489EFBD-9906-7B2E-BF9D-2DE6F4FB2F9A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13" creationId="{A8A491D5-D4A6-1EC2-F96F-A47DA125F62F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20" creationId="{68653E80-1231-D963-98CD-6C32F531F8EB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21" creationId="{548D6CC0-10B4-626B-7C43-761940762705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22" creationId="{1A1E73CC-7E42-1FEF-495B-FCAE70C63C26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23" creationId="{5EBFA946-CA99-D168-D982-855B6F7BD763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24" creationId="{858AD825-2225-3491-5E81-7AE0478B5B5F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25" creationId="{7D922C9C-6F92-94D7-58FE-C292AB099E92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26" creationId="{2DD5F8C8-BB25-EF70-5BFF-47E926691CDE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27" creationId="{CC7D1CDE-F28E-AF34-124F-4CD41822274F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28" creationId="{3C80C138-5AE5-8A4D-AB3D-7FA34FCF7F29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29" creationId="{3E7476E5-72BB-0EC4-243D-3194299BFC32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30" creationId="{53D75F71-F181-3F8B-DF5D-044EC6494923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31" creationId="{A7750C17-73EB-CF7D-AA17-38006CF131D2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32" creationId="{45F46692-A1CC-7A44-5AE1-5674209AEFD3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33" creationId="{305502CF-F963-729D-6655-8C920927752D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34" creationId="{AD442D95-189D-23E4-FB26-8FADFFD2ED89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39" creationId="{9E5DB58F-66CB-FEC1-8E9F-8282387AFF62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40" creationId="{61BD28CC-C092-5FFF-1D82-23C54D5F9AF4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41" creationId="{398FDA9F-A703-B694-723B-F9B066D7EAFE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42" creationId="{88918868-4604-2B63-3928-925F8E1F7A5E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44" creationId="{0AA3DD3D-1380-AA17-0381-396718BB8A99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48" creationId="{550A730F-2526-A55E-4AB7-C700DE88A136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51" creationId="{A2D957D1-DF1F-A6C5-C64D-AD3E8A0FA722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52" creationId="{867B95A2-6159-4AE1-F902-EC8E1D435860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53" creationId="{31334F61-7443-88A8-EEE3-C4C2E20C6C60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54" creationId="{E983692B-767B-A8E5-ACD3-287BE8E75D8B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56" creationId="{FBDA0631-86B1-DB9F-D18B-477A29E55C6F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57" creationId="{0BCC263E-5CD0-EE31-FFF4-AE34C6AF2F20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58" creationId="{4BB8F02F-684E-F9D0-E931-81B98F614D44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59" creationId="{1BDCED05-47BC-CC9F-76C4-B2BE1302217E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71" creationId="{B52CF309-459A-4F24-C519-4992F5C813EC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79" creationId="{58BF9EA7-AA3C-6AF4-B0E3-4F8809941564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80" creationId="{B73947EB-DD0E-055D-E0B6-2119013DBDCE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98" creationId="{E3E4F80F-16B9-00A6-46F1-C5E1323886E0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144" creationId="{9F02385D-ADFC-9F4E-C2F2-DED2E207643F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164" creationId="{3AF4220B-7262-4535-D613-E8264A9103F0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165" creationId="{F6F3F625-3D7C-AA70-B0F6-EC860BB24232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191" creationId="{6AFF9095-6252-40CF-A4A0-4DEFA4A99613}"/>
          </ac:spMkLst>
        </pc:spChg>
        <pc:spChg chg="mod">
          <ac:chgData name="Alfredo Sosa" userId="83509031-0ad5-40ad-b5b4-0a00e85eadc2" providerId="ADAL" clId="{1D4D29A5-1B4D-4120-9499-4CD91F1BCD8B}" dt="2025-06-16T14:20:04.009" v="800" actId="790"/>
          <ac:spMkLst>
            <pc:docMk/>
            <pc:sldMk cId="52408957" sldId="256"/>
            <ac:spMk id="192" creationId="{01CB710E-DED5-A193-F927-2215C6167FDA}"/>
          </ac:spMkLst>
        </pc:spChg>
      </pc:sldChg>
      <pc:sldChg chg="modSp mod">
        <pc:chgData name="Alfredo Sosa" userId="83509031-0ad5-40ad-b5b4-0a00e85eadc2" providerId="ADAL" clId="{1D4D29A5-1B4D-4120-9499-4CD91F1BCD8B}" dt="2025-06-16T15:13:39.538" v="920" actId="20577"/>
        <pc:sldMkLst>
          <pc:docMk/>
          <pc:sldMk cId="3763995097" sldId="259"/>
        </pc:sldMkLst>
        <pc:spChg chg="mod">
          <ac:chgData name="Alfredo Sosa" userId="83509031-0ad5-40ad-b5b4-0a00e85eadc2" providerId="ADAL" clId="{1D4D29A5-1B4D-4120-9499-4CD91F1BCD8B}" dt="2025-06-16T15:13:39.538" v="920" actId="20577"/>
          <ac:spMkLst>
            <pc:docMk/>
            <pc:sldMk cId="3763995097" sldId="259"/>
            <ac:spMk id="4" creationId="{FECC4256-4448-F776-9259-5A1B1747E7B1}"/>
          </ac:spMkLst>
        </pc:spChg>
      </pc:sldChg>
      <pc:sldChg chg="del">
        <pc:chgData name="Alfredo Sosa" userId="83509031-0ad5-40ad-b5b4-0a00e85eadc2" providerId="ADAL" clId="{1D4D29A5-1B4D-4120-9499-4CD91F1BCD8B}" dt="2025-06-17T00:50:58.373" v="1058" actId="47"/>
        <pc:sldMkLst>
          <pc:docMk/>
          <pc:sldMk cId="62157406" sldId="2147480820"/>
        </pc:sldMkLst>
      </pc:sldChg>
      <pc:sldChg chg="modSp mod">
        <pc:chgData name="Alfredo Sosa" userId="83509031-0ad5-40ad-b5b4-0a00e85eadc2" providerId="ADAL" clId="{1D4D29A5-1B4D-4120-9499-4CD91F1BCD8B}" dt="2025-06-16T15:15:35.143" v="968" actId="20577"/>
        <pc:sldMkLst>
          <pc:docMk/>
          <pc:sldMk cId="2352763462" sldId="2147480821"/>
        </pc:sldMkLst>
        <pc:spChg chg="mod">
          <ac:chgData name="Alfredo Sosa" userId="83509031-0ad5-40ad-b5b4-0a00e85eadc2" providerId="ADAL" clId="{1D4D29A5-1B4D-4120-9499-4CD91F1BCD8B}" dt="2025-06-16T15:15:20.173" v="934" actId="20577"/>
          <ac:spMkLst>
            <pc:docMk/>
            <pc:sldMk cId="2352763462" sldId="2147480821"/>
            <ac:spMk id="20" creationId="{53250804-CAF2-398B-1413-4C42041BD7D5}"/>
          </ac:spMkLst>
        </pc:spChg>
        <pc:spChg chg="mod">
          <ac:chgData name="Alfredo Sosa" userId="83509031-0ad5-40ad-b5b4-0a00e85eadc2" providerId="ADAL" clId="{1D4D29A5-1B4D-4120-9499-4CD91F1BCD8B}" dt="2025-06-16T15:15:28.967" v="965" actId="20577"/>
          <ac:spMkLst>
            <pc:docMk/>
            <pc:sldMk cId="2352763462" sldId="2147480821"/>
            <ac:spMk id="23" creationId="{3B94313E-6FAD-86F7-3192-A14D9B2487EF}"/>
          </ac:spMkLst>
        </pc:spChg>
        <pc:spChg chg="mod">
          <ac:chgData name="Alfredo Sosa" userId="83509031-0ad5-40ad-b5b4-0a00e85eadc2" providerId="ADAL" clId="{1D4D29A5-1B4D-4120-9499-4CD91F1BCD8B}" dt="2025-06-16T15:15:35.143" v="968" actId="20577"/>
          <ac:spMkLst>
            <pc:docMk/>
            <pc:sldMk cId="2352763462" sldId="2147480821"/>
            <ac:spMk id="26" creationId="{236B4734-F45C-FF8D-7438-1072CC585C28}"/>
          </ac:spMkLst>
        </pc:spChg>
      </pc:sldChg>
      <pc:sldChg chg="modNotesTx">
        <pc:chgData name="Alfredo Sosa" userId="83509031-0ad5-40ad-b5b4-0a00e85eadc2" providerId="ADAL" clId="{1D4D29A5-1B4D-4120-9499-4CD91F1BCD8B}" dt="2025-06-12T14:12:37.768" v="94" actId="20577"/>
        <pc:sldMkLst>
          <pc:docMk/>
          <pc:sldMk cId="3578355388" sldId="2147480822"/>
        </pc:sldMkLst>
      </pc:sldChg>
      <pc:sldChg chg="modSp add mod ord setBg">
        <pc:chgData name="Alfredo Sosa" userId="83509031-0ad5-40ad-b5b4-0a00e85eadc2" providerId="ADAL" clId="{1D4D29A5-1B4D-4120-9499-4CD91F1BCD8B}" dt="2025-06-16T15:17:49.232" v="1057" actId="20577"/>
        <pc:sldMkLst>
          <pc:docMk/>
          <pc:sldMk cId="2372812955" sldId="2147480823"/>
        </pc:sldMkLst>
        <pc:spChg chg="mod">
          <ac:chgData name="Alfredo Sosa" userId="83509031-0ad5-40ad-b5b4-0a00e85eadc2" providerId="ADAL" clId="{1D4D29A5-1B4D-4120-9499-4CD91F1BCD8B}" dt="2025-06-12T14:13:07.222" v="107" actId="20577"/>
          <ac:spMkLst>
            <pc:docMk/>
            <pc:sldMk cId="2372812955" sldId="2147480823"/>
            <ac:spMk id="2" creationId="{91A48379-A972-3136-A047-2518AA1E6854}"/>
          </ac:spMkLst>
        </pc:spChg>
        <pc:spChg chg="mod">
          <ac:chgData name="Alfredo Sosa" userId="83509031-0ad5-40ad-b5b4-0a00e85eadc2" providerId="ADAL" clId="{1D4D29A5-1B4D-4120-9499-4CD91F1BCD8B}" dt="2025-06-16T15:17:49.232" v="1057" actId="20577"/>
          <ac:spMkLst>
            <pc:docMk/>
            <pc:sldMk cId="2372812955" sldId="2147480823"/>
            <ac:spMk id="4" creationId="{FECC4256-4448-F776-9259-5A1B1747E7B1}"/>
          </ac:spMkLst>
        </pc:spChg>
      </pc:sldChg>
      <pc:sldChg chg="addSp modSp add mod ord setBg">
        <pc:chgData name="Alfredo Sosa" userId="83509031-0ad5-40ad-b5b4-0a00e85eadc2" providerId="ADAL" clId="{1D4D29A5-1B4D-4120-9499-4CD91F1BCD8B}" dt="2025-06-17T07:13:21.984" v="1122" actId="1076"/>
        <pc:sldMkLst>
          <pc:docMk/>
          <pc:sldMk cId="1558569887" sldId="2147480824"/>
        </pc:sldMkLst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2" creationId="{CB7ED777-FD6D-33CE-9AAE-DDBD7046B090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7" creationId="{C2987F6A-E6D5-7FCE-E397-AB069FB8B05C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8" creationId="{37041487-4461-C7DC-D4CC-E6C5253AD55E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1" creationId="{7DCD298D-9863-5497-90FF-ED414AF88CED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7" creationId="{A2F02531-8352-17A0-3354-4515BABB89A4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8" creationId="{3E07A375-C385-3279-5BCD-1015E7C629B2}"/>
          </ac:spMkLst>
        </pc:spChg>
        <pc:spChg chg="add mod">
          <ac:chgData name="Alfredo Sosa" userId="83509031-0ad5-40ad-b5b4-0a00e85eadc2" providerId="ADAL" clId="{1D4D29A5-1B4D-4120-9499-4CD91F1BCD8B}" dt="2025-06-17T07:12:36.696" v="1117" actId="1076"/>
          <ac:spMkLst>
            <pc:docMk/>
            <pc:sldMk cId="1558569887" sldId="2147480824"/>
            <ac:spMk id="45" creationId="{E63F7C30-FFEF-065C-9CA0-44F2A583E39A}"/>
          </ac:spMkLst>
        </pc:spChg>
        <pc:spChg chg="add mod">
          <ac:chgData name="Alfredo Sosa" userId="83509031-0ad5-40ad-b5b4-0a00e85eadc2" providerId="ADAL" clId="{1D4D29A5-1B4D-4120-9499-4CD91F1BCD8B}" dt="2025-06-17T07:13:21.984" v="1122" actId="1076"/>
          <ac:spMkLst>
            <pc:docMk/>
            <pc:sldMk cId="1558569887" sldId="2147480824"/>
            <ac:spMk id="46" creationId="{11E1EB79-1373-3802-B56F-69B173BA7B52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50" creationId="{7E842A3C-458C-1DBD-EA16-C0F4629D5EC9}"/>
          </ac:spMkLst>
        </pc:spChg>
        <pc:spChg chg="mod">
          <ac:chgData name="Alfredo Sosa" userId="83509031-0ad5-40ad-b5b4-0a00e85eadc2" providerId="ADAL" clId="{1D4D29A5-1B4D-4120-9499-4CD91F1BCD8B}" dt="2025-06-16T14:49:44.016" v="816" actId="20577"/>
          <ac:spMkLst>
            <pc:docMk/>
            <pc:sldMk cId="1558569887" sldId="2147480824"/>
            <ac:spMk id="63" creationId="{6DC85053-4D95-9E10-2A69-FC6DA110D3F5}"/>
          </ac:spMkLst>
        </pc:spChg>
        <pc:spChg chg="mod">
          <ac:chgData name="Alfredo Sosa" userId="83509031-0ad5-40ad-b5b4-0a00e85eadc2" providerId="ADAL" clId="{1D4D29A5-1B4D-4120-9499-4CD91F1BCD8B}" dt="2025-06-16T14:14:59.606" v="782" actId="27107"/>
          <ac:spMkLst>
            <pc:docMk/>
            <pc:sldMk cId="1558569887" sldId="2147480824"/>
            <ac:spMk id="1345" creationId="{77F35BD7-E0CE-34FB-3449-BB73642C4F3E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354" creationId="{9F9F4523-10B6-2E5E-4A01-A37607A3A1A4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357" creationId="{3F67C987-E8AF-BE31-53B6-9C4E22FBED03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363" creationId="{ABA4CECE-28DB-F388-A7E3-572F6CC991FB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364" creationId="{113B8120-581C-E5F8-C20D-A6C359215DBC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368" creationId="{9DE255DC-4ADE-8964-53BA-D4DFEFB66BFB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371" creationId="{7BC7F8B0-E840-6CC7-9394-ABAFE2FE815F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373" creationId="{E45018F9-77B1-49DB-C6BC-14E0A4537BF6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378" creationId="{DDE3578F-260D-A557-68F8-66602E28D7EE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379" creationId="{88E6A6CB-2FD8-21FD-72F9-BF0F7E654123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402" creationId="{640E430C-AB81-EFA3-BE02-D532901105F1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422" creationId="{E2C3CE57-362D-F458-8338-4A6CD93222AC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424" creationId="{97BFCDC0-8BE2-ADDD-4D8A-F3F6B5F3E346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426" creationId="{EE47DFE4-7BE4-2030-2E95-6BBCAACCCB20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429" creationId="{34D0F9DF-1A68-CC67-E042-D5FF7B0F9CE9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437" creationId="{6FF42C44-BD7D-80CC-EDEF-FD6A65F5816C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440" creationId="{EB521829-4689-F3A3-EAE4-24BB2911C86D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470" creationId="{778C5A11-B49F-A3A5-A28C-B2D7CF44C5CA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475" creationId="{3B171A20-2CE6-DCB7-6412-D8A495496FE0}"/>
          </ac:spMkLst>
        </pc:spChg>
        <pc:spChg chg="mod">
          <ac:chgData name="Alfredo Sosa" userId="83509031-0ad5-40ad-b5b4-0a00e85eadc2" providerId="ADAL" clId="{1D4D29A5-1B4D-4120-9499-4CD91F1BCD8B}" dt="2025-06-16T14:54:19.797" v="828" actId="20577"/>
          <ac:spMkLst>
            <pc:docMk/>
            <pc:sldMk cId="1558569887" sldId="2147480824"/>
            <ac:spMk id="1481" creationId="{A80F0BF1-9EAD-1783-C37E-F7E731E38E4E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494" creationId="{8CABB735-B4BB-1A64-AFEA-19FBE0A469A0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499" creationId="{B514C9A5-9C79-DE58-734C-940D9854C46D}"/>
          </ac:spMkLst>
        </pc:spChg>
        <pc:spChg chg="mod">
          <ac:chgData name="Alfredo Sosa" userId="83509031-0ad5-40ad-b5b4-0a00e85eadc2" providerId="ADAL" clId="{1D4D29A5-1B4D-4120-9499-4CD91F1BCD8B}" dt="2025-06-16T15:07:16.351" v="838" actId="20577"/>
          <ac:spMkLst>
            <pc:docMk/>
            <pc:sldMk cId="1558569887" sldId="2147480824"/>
            <ac:spMk id="1501" creationId="{E8038A61-AE11-AC3B-CAD7-E9C809901C09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505" creationId="{4149ED45-8D92-A7EF-AB0D-352641F4B34F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512" creationId="{F086D695-FADF-AA93-509B-585A5417336D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513" creationId="{2C91E046-D302-D67D-7E24-D8E3D1A6123F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519" creationId="{1954E793-0BDD-95B3-09A1-51F59619E705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522" creationId="{35A19707-D12C-C0ED-ADA9-34F0C4016F28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523" creationId="{34B83B7A-69D2-8E2D-C4B6-ABA7377C0FE2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526" creationId="{5E097204-9F94-5CC7-B9A9-A08118BF5F4D}"/>
          </ac:spMkLst>
        </pc:spChg>
        <pc:spChg chg="mod">
          <ac:chgData name="Alfredo Sosa" userId="83509031-0ad5-40ad-b5b4-0a00e85eadc2" providerId="ADAL" clId="{1D4D29A5-1B4D-4120-9499-4CD91F1BCD8B}" dt="2025-06-16T14:14:22.216" v="781" actId="790"/>
          <ac:spMkLst>
            <pc:docMk/>
            <pc:sldMk cId="1558569887" sldId="2147480824"/>
            <ac:spMk id="1527" creationId="{AFB24593-A392-58C6-8348-88CB8E277484}"/>
          </ac:spMkLst>
        </pc:spChg>
        <pc:picChg chg="add mod">
          <ac:chgData name="Alfredo Sosa" userId="83509031-0ad5-40ad-b5b4-0a00e85eadc2" providerId="ADAL" clId="{1D4D29A5-1B4D-4120-9499-4CD91F1BCD8B}" dt="2025-06-17T07:12:03.469" v="1085" actId="1076"/>
          <ac:picMkLst>
            <pc:docMk/>
            <pc:sldMk cId="1558569887" sldId="2147480824"/>
            <ac:picMk id="44" creationId="{623EE701-FB34-E9B2-6F29-D28A4938B0A4}"/>
          </ac:picMkLst>
        </pc:picChg>
        <pc:cxnChg chg="add mod">
          <ac:chgData name="Alfredo Sosa" userId="83509031-0ad5-40ad-b5b4-0a00e85eadc2" providerId="ADAL" clId="{1D4D29A5-1B4D-4120-9499-4CD91F1BCD8B}" dt="2025-06-17T07:06:57.457" v="1073" actId="14100"/>
          <ac:cxnSpMkLst>
            <pc:docMk/>
            <pc:sldMk cId="1558569887" sldId="2147480824"/>
            <ac:cxnSpMk id="3" creationId="{E601A863-7105-AF7C-0A68-05FC97AE2492}"/>
          </ac:cxnSpMkLst>
        </pc:cxnChg>
        <pc:cxnChg chg="add mod">
          <ac:chgData name="Alfredo Sosa" userId="83509031-0ad5-40ad-b5b4-0a00e85eadc2" providerId="ADAL" clId="{1D4D29A5-1B4D-4120-9499-4CD91F1BCD8B}" dt="2025-06-17T07:10:41.277" v="1082" actId="14100"/>
          <ac:cxnSpMkLst>
            <pc:docMk/>
            <pc:sldMk cId="1558569887" sldId="2147480824"/>
            <ac:cxnSpMk id="22" creationId="{963A8F1D-2377-BCAA-BA77-3AC6BDD8B45A}"/>
          </ac:cxnSpMkLst>
        </pc:cxnChg>
      </pc:sldChg>
    </pc:docChg>
  </pc:docChgLst>
  <pc:docChgLst>
    <pc:chgData name="Fernando Acosta" userId="S::fernando.acosta@mystratis.com::388d1e33-1ec6-451b-8fb6-eba76a220960" providerId="AD" clId="Web-{372468A5-B374-A777-C309-6BF520D99743}"/>
    <pc:docChg chg="addSld delSld modSld addMainMaster modMainMaster">
      <pc:chgData name="Fernando Acosta" userId="S::fernando.acosta@mystratis.com::388d1e33-1ec6-451b-8fb6-eba76a220960" providerId="AD" clId="Web-{372468A5-B374-A777-C309-6BF520D99743}" dt="2025-06-17T12:23:51.294" v="118" actId="14100"/>
      <pc:docMkLst>
        <pc:docMk/>
      </pc:docMkLst>
      <pc:sldChg chg="modSp">
        <pc:chgData name="Fernando Acosta" userId="S::fernando.acosta@mystratis.com::388d1e33-1ec6-451b-8fb6-eba76a220960" providerId="AD" clId="Web-{372468A5-B374-A777-C309-6BF520D99743}" dt="2025-06-17T12:11:45.905" v="17" actId="1076"/>
        <pc:sldMkLst>
          <pc:docMk/>
          <pc:sldMk cId="3763995097" sldId="259"/>
        </pc:sldMkLst>
        <pc:spChg chg="mod">
          <ac:chgData name="Fernando Acosta" userId="S::fernando.acosta@mystratis.com::388d1e33-1ec6-451b-8fb6-eba76a220960" providerId="AD" clId="Web-{372468A5-B374-A777-C309-6BF520D99743}" dt="2025-06-17T12:11:39.389" v="16" actId="1076"/>
          <ac:spMkLst>
            <pc:docMk/>
            <pc:sldMk cId="3763995097" sldId="259"/>
            <ac:spMk id="2" creationId="{91A48379-A972-3136-A047-2518AA1E6854}"/>
          </ac:spMkLst>
        </pc:spChg>
        <pc:spChg chg="mod">
          <ac:chgData name="Fernando Acosta" userId="S::fernando.acosta@mystratis.com::388d1e33-1ec6-451b-8fb6-eba76a220960" providerId="AD" clId="Web-{372468A5-B374-A777-C309-6BF520D99743}" dt="2025-06-17T12:11:45.905" v="17" actId="1076"/>
          <ac:spMkLst>
            <pc:docMk/>
            <pc:sldMk cId="3763995097" sldId="259"/>
            <ac:spMk id="4" creationId="{FECC4256-4448-F776-9259-5A1B1747E7B1}"/>
          </ac:spMkLst>
        </pc:spChg>
      </pc:sldChg>
      <pc:sldChg chg="modSp">
        <pc:chgData name="Fernando Acosta" userId="S::fernando.acosta@mystratis.com::388d1e33-1ec6-451b-8fb6-eba76a220960" providerId="AD" clId="Web-{372468A5-B374-A777-C309-6BF520D99743}" dt="2025-06-17T12:15:04.835" v="97" actId="20577"/>
        <pc:sldMkLst>
          <pc:docMk/>
          <pc:sldMk cId="2372812955" sldId="2147480823"/>
        </pc:sldMkLst>
        <pc:spChg chg="mod">
          <ac:chgData name="Fernando Acosta" userId="S::fernando.acosta@mystratis.com::388d1e33-1ec6-451b-8fb6-eba76a220960" providerId="AD" clId="Web-{372468A5-B374-A777-C309-6BF520D99743}" dt="2025-06-17T12:11:32.639" v="15" actId="1076"/>
          <ac:spMkLst>
            <pc:docMk/>
            <pc:sldMk cId="2372812955" sldId="2147480823"/>
            <ac:spMk id="2" creationId="{91A48379-A972-3136-A047-2518AA1E6854}"/>
          </ac:spMkLst>
        </pc:spChg>
        <pc:spChg chg="mod">
          <ac:chgData name="Fernando Acosta" userId="S::fernando.acosta@mystratis.com::388d1e33-1ec6-451b-8fb6-eba76a220960" providerId="AD" clId="Web-{372468A5-B374-A777-C309-6BF520D99743}" dt="2025-06-17T12:15:04.835" v="97" actId="20577"/>
          <ac:spMkLst>
            <pc:docMk/>
            <pc:sldMk cId="2372812955" sldId="2147480823"/>
            <ac:spMk id="4" creationId="{FECC4256-4448-F776-9259-5A1B1747E7B1}"/>
          </ac:spMkLst>
        </pc:spChg>
      </pc:sldChg>
      <pc:sldChg chg="add del">
        <pc:chgData name="Fernando Acosta" userId="S::fernando.acosta@mystratis.com::388d1e33-1ec6-451b-8fb6-eba76a220960" providerId="AD" clId="Web-{372468A5-B374-A777-C309-6BF520D99743}" dt="2025-06-17T12:19:01.610" v="99"/>
        <pc:sldMkLst>
          <pc:docMk/>
          <pc:sldMk cId="1922778523" sldId="2147480825"/>
        </pc:sldMkLst>
      </pc:sldChg>
      <pc:sldChg chg="add del">
        <pc:chgData name="Fernando Acosta" userId="S::fernando.acosta@mystratis.com::388d1e33-1ec6-451b-8fb6-eba76a220960" providerId="AD" clId="Web-{372468A5-B374-A777-C309-6BF520D99743}" dt="2025-06-17T12:19:20.470" v="101"/>
        <pc:sldMkLst>
          <pc:docMk/>
          <pc:sldMk cId="3392048890" sldId="2147480825"/>
        </pc:sldMkLst>
      </pc:sldChg>
      <pc:sldChg chg="add">
        <pc:chgData name="Fernando Acosta" userId="S::fernando.acosta@mystratis.com::388d1e33-1ec6-451b-8fb6-eba76a220960" providerId="AD" clId="Web-{372468A5-B374-A777-C309-6BF520D99743}" dt="2025-06-17T12:19:27.627" v="102"/>
        <pc:sldMkLst>
          <pc:docMk/>
          <pc:sldMk cId="3872842714" sldId="2147480825"/>
        </pc:sldMkLst>
      </pc:sldChg>
      <pc:sldChg chg="addSp modSp add">
        <pc:chgData name="Fernando Acosta" userId="S::fernando.acosta@mystratis.com::388d1e33-1ec6-451b-8fb6-eba76a220960" providerId="AD" clId="Web-{372468A5-B374-A777-C309-6BF520D99743}" dt="2025-06-17T12:23:51.294" v="118" actId="14100"/>
        <pc:sldMkLst>
          <pc:docMk/>
          <pc:sldMk cId="131843616" sldId="2147480826"/>
        </pc:sldMkLst>
        <pc:spChg chg="mod">
          <ac:chgData name="Fernando Acosta" userId="S::fernando.acosta@mystratis.com::388d1e33-1ec6-451b-8fb6-eba76a220960" providerId="AD" clId="Web-{372468A5-B374-A777-C309-6BF520D99743}" dt="2025-06-17T12:20:24.770" v="105" actId="20577"/>
          <ac:spMkLst>
            <pc:docMk/>
            <pc:sldMk cId="131843616" sldId="2147480826"/>
            <ac:spMk id="3" creationId="{00000000-0000-0000-0000-000000000000}"/>
          </ac:spMkLst>
        </pc:spChg>
        <pc:spChg chg="add mod">
          <ac:chgData name="Fernando Acosta" userId="S::fernando.acosta@mystratis.com::388d1e33-1ec6-451b-8fb6-eba76a220960" providerId="AD" clId="Web-{372468A5-B374-A777-C309-6BF520D99743}" dt="2025-06-17T12:22:07.555" v="110"/>
          <ac:spMkLst>
            <pc:docMk/>
            <pc:sldMk cId="131843616" sldId="2147480826"/>
            <ac:spMk id="37" creationId="{8BA84FCE-B811-9DE9-F7F7-DA8D96FDCA64}"/>
          </ac:spMkLst>
        </pc:spChg>
        <pc:spChg chg="add mod">
          <ac:chgData name="Fernando Acosta" userId="S::fernando.acosta@mystratis.com::388d1e33-1ec6-451b-8fb6-eba76a220960" providerId="AD" clId="Web-{372468A5-B374-A777-C309-6BF520D99743}" dt="2025-06-17T12:23:51.294" v="118" actId="14100"/>
          <ac:spMkLst>
            <pc:docMk/>
            <pc:sldMk cId="131843616" sldId="2147480826"/>
            <ac:spMk id="38" creationId="{A0CDF8F2-55C8-BE28-0F9D-2566568D12A6}"/>
          </ac:spMkLst>
        </pc:spChg>
        <pc:picChg chg="mod">
          <ac:chgData name="Fernando Acosta" userId="S::fernando.acosta@mystratis.com::388d1e33-1ec6-451b-8fb6-eba76a220960" providerId="AD" clId="Web-{372468A5-B374-A777-C309-6BF520D99743}" dt="2025-06-17T12:23:28.777" v="114" actId="1076"/>
          <ac:picMkLst>
            <pc:docMk/>
            <pc:sldMk cId="131843616" sldId="2147480826"/>
            <ac:picMk id="2" creationId="{00000000-0000-0000-0000-000000000000}"/>
          </ac:picMkLst>
        </pc:picChg>
      </pc:sldChg>
      <pc:sldMasterChg chg="add addSldLayout">
        <pc:chgData name="Fernando Acosta" userId="S::fernando.acosta@mystratis.com::388d1e33-1ec6-451b-8fb6-eba76a220960" providerId="AD" clId="Web-{372468A5-B374-A777-C309-6BF520D99743}" dt="2025-06-17T12:19:27.627" v="102"/>
        <pc:sldMasterMkLst>
          <pc:docMk/>
          <pc:sldMasterMk cId="0" sldId="2147483648"/>
        </pc:sldMasterMkLst>
        <pc:sldLayoutChg chg="add">
          <pc:chgData name="Fernando Acosta" userId="S::fernando.acosta@mystratis.com::388d1e33-1ec6-451b-8fb6-eba76a220960" providerId="AD" clId="Web-{372468A5-B374-A777-C309-6BF520D99743}" dt="2025-06-17T12:19:27.627" v="102"/>
          <pc:sldLayoutMkLst>
            <pc:docMk/>
            <pc:sldMasterMk cId="0" sldId="2147483648"/>
            <pc:sldLayoutMk cId="0" sldId="2147483661"/>
          </pc:sldLayoutMkLst>
        </pc:sldLayoutChg>
        <pc:sldLayoutChg chg="add">
          <pc:chgData name="Fernando Acosta" userId="S::fernando.acosta@mystratis.com::388d1e33-1ec6-451b-8fb6-eba76a220960" providerId="AD" clId="Web-{372468A5-B374-A777-C309-6BF520D99743}" dt="2025-06-17T12:19:27.627" v="102"/>
          <pc:sldLayoutMkLst>
            <pc:docMk/>
            <pc:sldMasterMk cId="0" sldId="2147483648"/>
            <pc:sldLayoutMk cId="0" sldId="2147483662"/>
          </pc:sldLayoutMkLst>
        </pc:sldLayoutChg>
        <pc:sldLayoutChg chg="add">
          <pc:chgData name="Fernando Acosta" userId="S::fernando.acosta@mystratis.com::388d1e33-1ec6-451b-8fb6-eba76a220960" providerId="AD" clId="Web-{372468A5-B374-A777-C309-6BF520D99743}" dt="2025-06-17T12:19:27.627" v="102"/>
          <pc:sldLayoutMkLst>
            <pc:docMk/>
            <pc:sldMasterMk cId="0" sldId="2147483648"/>
            <pc:sldLayoutMk cId="0" sldId="2147483663"/>
          </pc:sldLayoutMkLst>
        </pc:sldLayoutChg>
        <pc:sldLayoutChg chg="add">
          <pc:chgData name="Fernando Acosta" userId="S::fernando.acosta@mystratis.com::388d1e33-1ec6-451b-8fb6-eba76a220960" providerId="AD" clId="Web-{372468A5-B374-A777-C309-6BF520D99743}" dt="2025-06-17T12:19:27.627" v="102"/>
          <pc:sldLayoutMkLst>
            <pc:docMk/>
            <pc:sldMasterMk cId="0" sldId="2147483648"/>
            <pc:sldLayoutMk cId="0" sldId="2147483664"/>
          </pc:sldLayoutMkLst>
        </pc:sldLayoutChg>
        <pc:sldLayoutChg chg="add">
          <pc:chgData name="Fernando Acosta" userId="S::fernando.acosta@mystratis.com::388d1e33-1ec6-451b-8fb6-eba76a220960" providerId="AD" clId="Web-{372468A5-B374-A777-C309-6BF520D99743}" dt="2025-06-17T12:19:27.627" v="102"/>
          <pc:sldLayoutMkLst>
            <pc:docMk/>
            <pc:sldMasterMk cId="0" sldId="2147483648"/>
            <pc:sldLayoutMk cId="0" sldId="2147483665"/>
          </pc:sldLayoutMkLst>
        </pc:sldLayoutChg>
      </pc:sldMasterChg>
      <pc:sldMasterChg chg="replId modSldLayout">
        <pc:chgData name="Fernando Acosta" userId="S::fernando.acosta@mystratis.com::388d1e33-1ec6-451b-8fb6-eba76a220960" providerId="AD" clId="Web-{372468A5-B374-A777-C309-6BF520D99743}" dt="2025-06-17T12:19:27.627" v="102"/>
        <pc:sldMasterMkLst>
          <pc:docMk/>
          <pc:sldMasterMk cId="793506915" sldId="2147483666"/>
        </pc:sldMasterMkLst>
        <pc:sldLayoutChg chg="replId">
          <pc:chgData name="Fernando Acosta" userId="S::fernando.acosta@mystratis.com::388d1e33-1ec6-451b-8fb6-eba76a220960" providerId="AD" clId="Web-{372468A5-B374-A777-C309-6BF520D99743}" dt="2025-06-17T12:19:27.627" v="102"/>
          <pc:sldLayoutMkLst>
            <pc:docMk/>
            <pc:sldMasterMk cId="793506915" sldId="2147483666"/>
            <pc:sldLayoutMk cId="1201273753" sldId="214748366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325F98-24C6-4438-A6E3-C0A39B487C8C}" type="datetimeFigureOut">
              <a:rPr lang="en-US" smtClean="0"/>
              <a:t>6/1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2F86EB-D4FF-4613-A123-6552615DEF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6808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943148-ABC7-FE98-23DF-41E94E8538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FAD42BD4-DB3F-A09B-A416-EBE8A40162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3FB52FBC-38FD-BB74-BFF7-4C189759B8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dirty="0">
                <a:ea typeface="Calibri"/>
                <a:cs typeface="Calibri"/>
              </a:rPr>
              <a:t>Incluir lámina de Deep </a:t>
            </a:r>
            <a:r>
              <a:rPr lang="es-MX" dirty="0" err="1">
                <a:ea typeface="Calibri"/>
                <a:cs typeface="Calibri"/>
              </a:rPr>
              <a:t>Design</a:t>
            </a:r>
            <a:endParaRPr lang="es-MX" dirty="0">
              <a:ea typeface="Calibri"/>
              <a:cs typeface="Calibri"/>
            </a:endParaRPr>
          </a:p>
          <a:p>
            <a:r>
              <a:rPr lang="es-MX" dirty="0" err="1">
                <a:ea typeface="Calibri"/>
                <a:cs typeface="Calibri"/>
              </a:rPr>
              <a:t>Testing</a:t>
            </a:r>
            <a:r>
              <a:rPr lang="es-MX" dirty="0">
                <a:ea typeface="Calibri"/>
                <a:cs typeface="Calibri"/>
              </a:rPr>
              <a:t> </a:t>
            </a:r>
            <a:r>
              <a:rPr lang="es-MX" dirty="0" err="1">
                <a:ea typeface="Calibri"/>
                <a:cs typeface="Calibri"/>
              </a:rPr>
              <a:t>Practice</a:t>
            </a:r>
            <a:endParaRPr lang="es-MX" dirty="0">
              <a:ea typeface="Calibri"/>
              <a:cs typeface="Calibri"/>
            </a:endParaRPr>
          </a:p>
          <a:p>
            <a:r>
              <a:rPr lang="es-MX" dirty="0">
                <a:ea typeface="Calibri"/>
                <a:cs typeface="Calibri"/>
              </a:rPr>
              <a:t>	- </a:t>
            </a:r>
            <a:r>
              <a:rPr lang="es-MX" dirty="0" err="1">
                <a:ea typeface="Calibri"/>
                <a:cs typeface="Calibri"/>
              </a:rPr>
              <a:t>What</a:t>
            </a:r>
            <a:r>
              <a:rPr lang="es-MX" dirty="0">
                <a:ea typeface="Calibri"/>
                <a:cs typeface="Calibri"/>
              </a:rPr>
              <a:t> </a:t>
            </a:r>
            <a:r>
              <a:rPr lang="es-MX" dirty="0" err="1">
                <a:ea typeface="Calibri"/>
                <a:cs typeface="Calibri"/>
              </a:rPr>
              <a:t>is</a:t>
            </a:r>
            <a:r>
              <a:rPr lang="es-MX" dirty="0">
                <a:ea typeface="Calibri"/>
                <a:cs typeface="Calibri"/>
              </a:rPr>
              <a:t> </a:t>
            </a:r>
            <a:r>
              <a:rPr lang="es-MX" dirty="0" err="1">
                <a:ea typeface="Calibri"/>
                <a:cs typeface="Calibri"/>
              </a:rPr>
              <a:t>our</a:t>
            </a:r>
            <a:r>
              <a:rPr lang="es-MX" dirty="0">
                <a:ea typeface="Calibri"/>
                <a:cs typeface="Calibri"/>
              </a:rPr>
              <a:t> </a:t>
            </a:r>
            <a:r>
              <a:rPr lang="es-MX" dirty="0" err="1">
                <a:ea typeface="Calibri"/>
                <a:cs typeface="Calibri"/>
              </a:rPr>
              <a:t>approach</a:t>
            </a:r>
            <a:endParaRPr lang="es-MX" dirty="0">
              <a:ea typeface="Calibri"/>
              <a:cs typeface="Calibri"/>
            </a:endParaRPr>
          </a:p>
          <a:p>
            <a:r>
              <a:rPr lang="es-MX" dirty="0">
                <a:ea typeface="Calibri"/>
                <a:cs typeface="Calibri"/>
              </a:rPr>
              <a:t>	- </a:t>
            </a:r>
            <a:r>
              <a:rPr lang="es-MX" dirty="0" err="1">
                <a:ea typeface="Calibri"/>
                <a:cs typeface="Calibri"/>
              </a:rPr>
              <a:t>What</a:t>
            </a:r>
            <a:r>
              <a:rPr lang="es-MX" dirty="0">
                <a:ea typeface="Calibri"/>
                <a:cs typeface="Calibri"/>
              </a:rPr>
              <a:t> tolos do </a:t>
            </a:r>
            <a:r>
              <a:rPr lang="es-MX" dirty="0" err="1">
                <a:ea typeface="Calibri"/>
                <a:cs typeface="Calibri"/>
              </a:rPr>
              <a:t>we</a:t>
            </a:r>
            <a:r>
              <a:rPr lang="es-MX" dirty="0">
                <a:ea typeface="Calibri"/>
                <a:cs typeface="Calibri"/>
              </a:rPr>
              <a:t> use?</a:t>
            </a:r>
          </a:p>
          <a:p>
            <a:endParaRPr lang="es-MX" dirty="0">
              <a:ea typeface="Calibri"/>
              <a:cs typeface="Calibri"/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2598DE6-F6C5-6FF8-3647-0F7042E9B7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C2AC55-313E-4D09-8099-F0FFAA3BB4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38528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8FDD86-5671-E916-5C75-2C2867EBF7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3BC32CBD-FE96-90C5-3A3C-1B7AE1E081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90BF61EC-E4BC-802E-9CDC-2760D2C5BD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>
                <a:cs typeface="Calibri"/>
              </a:rPr>
              <a:t>Flujo 1:</a:t>
            </a:r>
          </a:p>
          <a:p>
            <a:r>
              <a:rPr lang="es-MX" err="1">
                <a:cs typeface="Calibri"/>
              </a:rPr>
              <a:t>Tester</a:t>
            </a:r>
            <a:r>
              <a:rPr lang="es-MX">
                <a:cs typeface="Calibri"/>
              </a:rPr>
              <a:t> recibe </a:t>
            </a:r>
            <a:r>
              <a:rPr lang="es-MX" err="1">
                <a:cs typeface="Calibri"/>
              </a:rPr>
              <a:t>User</a:t>
            </a:r>
            <a:r>
              <a:rPr lang="es-MX">
                <a:cs typeface="Calibri"/>
              </a:rPr>
              <a:t> </a:t>
            </a:r>
            <a:r>
              <a:rPr lang="es-MX" err="1">
                <a:cs typeface="Calibri"/>
              </a:rPr>
              <a:t>Stories</a:t>
            </a:r>
            <a:r>
              <a:rPr lang="es-MX">
                <a:cs typeface="Calibri"/>
              </a:rPr>
              <a:t> y trabaja con Producto y Desarrollo para auditar los requerimientos y asegurarse que sean consistentes. Después se alimentan a los modelos de IA y esta va a entregar Test Cases, los cuales pasarán a Deep </a:t>
            </a:r>
            <a:r>
              <a:rPr lang="es-MX" err="1">
                <a:cs typeface="Calibri"/>
              </a:rPr>
              <a:t>Design</a:t>
            </a:r>
            <a:r>
              <a:rPr lang="es-MX">
                <a:cs typeface="Calibri"/>
              </a:rPr>
              <a:t>.</a:t>
            </a:r>
          </a:p>
          <a:p>
            <a:endParaRPr lang="es-MX">
              <a:cs typeface="Calibri"/>
            </a:endParaRPr>
          </a:p>
          <a:p>
            <a:r>
              <a:rPr lang="es-MX">
                <a:cs typeface="Calibri"/>
              </a:rPr>
              <a:t>Flujo 2:</a:t>
            </a:r>
          </a:p>
          <a:p>
            <a:r>
              <a:rPr lang="es-MX">
                <a:cs typeface="Calibri"/>
              </a:rPr>
              <a:t>Test Cases </a:t>
            </a:r>
            <a:r>
              <a:rPr lang="es-MX" b="1">
                <a:cs typeface="Calibri"/>
              </a:rPr>
              <a:t>auditados</a:t>
            </a:r>
            <a:r>
              <a:rPr lang="es-MX" b="0">
                <a:cs typeface="Calibri"/>
              </a:rPr>
              <a:t> se alimentan al AI y esta a su vez entrega Scripts de Automatización los cuales van a pasar por una última auditoria y ajuste.</a:t>
            </a:r>
          </a:p>
          <a:p>
            <a:endParaRPr lang="es-MX" b="0">
              <a:cs typeface="Calibri"/>
            </a:endParaRPr>
          </a:p>
          <a:p>
            <a:r>
              <a:rPr lang="es-MX" b="0" err="1">
                <a:cs typeface="Calibri"/>
              </a:rPr>
              <a:t>Better</a:t>
            </a:r>
            <a:r>
              <a:rPr lang="es-MX" b="0">
                <a:cs typeface="Calibri"/>
              </a:rPr>
              <a:t> </a:t>
            </a:r>
            <a:r>
              <a:rPr lang="es-MX" b="0" err="1">
                <a:cs typeface="Calibri"/>
              </a:rPr>
              <a:t>company</a:t>
            </a:r>
            <a:r>
              <a:rPr lang="es-MX" b="0">
                <a:cs typeface="Calibri"/>
              </a:rPr>
              <a:t> </a:t>
            </a:r>
            <a:r>
              <a:rPr lang="es-MX" b="0" err="1">
                <a:cs typeface="Calibri"/>
              </a:rPr>
              <a:t>image</a:t>
            </a:r>
            <a:r>
              <a:rPr lang="es-MX" b="0">
                <a:cs typeface="Calibri"/>
              </a:rPr>
              <a:t> </a:t>
            </a:r>
            <a:r>
              <a:rPr lang="es-MX" b="0" err="1">
                <a:cs typeface="Calibri"/>
              </a:rPr>
              <a:t>through</a:t>
            </a:r>
            <a:r>
              <a:rPr lang="es-MX" b="0">
                <a:cs typeface="Calibri"/>
              </a:rPr>
              <a:t> </a:t>
            </a:r>
            <a:r>
              <a:rPr lang="es-MX" b="0" err="1">
                <a:cs typeface="Calibri"/>
              </a:rPr>
              <a:t>fewer</a:t>
            </a:r>
            <a:r>
              <a:rPr lang="es-MX" b="0">
                <a:cs typeface="Calibri"/>
              </a:rPr>
              <a:t> </a:t>
            </a:r>
            <a:r>
              <a:rPr lang="es-MX" b="0" err="1">
                <a:cs typeface="Calibri"/>
              </a:rPr>
              <a:t>defects</a:t>
            </a:r>
            <a:endParaRPr lang="es-MX" b="0">
              <a:cs typeface="Calibri"/>
            </a:endParaRPr>
          </a:p>
          <a:p>
            <a:endParaRPr lang="es-MX" b="0">
              <a:cs typeface="Calibri"/>
            </a:endParaRPr>
          </a:p>
          <a:p>
            <a:r>
              <a:rPr lang="es-MX" b="0">
                <a:cs typeface="Calibri"/>
              </a:rPr>
              <a:t>Confianza a través de la cooperación humano + AI</a:t>
            </a:r>
          </a:p>
          <a:p>
            <a:endParaRPr lang="es-MX">
              <a:cs typeface="Calibri"/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C38780D-74C5-6D29-07B6-53165DA3D5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C2AC55-313E-4D09-8099-F0FFAA3BB4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22493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2F86EB-D4FF-4613-A123-6552615DEFA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96309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B06EE1-0144-9416-8B65-36D0A8F66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B32BE2-5190-BC61-81AD-9C2F94B8F5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87F1192-F184-C1C4-9E6E-D7205D2A76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sngStrik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620F96-812B-DFEC-F7CB-DA7F2F4BA5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2F86EB-D4FF-4613-A123-6552615DEFA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9503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/>
              <a:t>Agregar riesgos de no hacerlo con Strati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0452BE-39F8-4139-A27F-65AC83890BD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7855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9594AD-8EA1-FE03-D583-9C0065472C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1312795-AD05-F0F9-32A4-DBFCEC3705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342F37-5FFB-317C-8B23-AC4A783E9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B1472-51F3-41B6-B8EB-AAB702542464}" type="datetimeFigureOut">
              <a:rPr lang="en-US" smtClean="0"/>
              <a:t>6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0C9742-AE1D-7EBA-5E2B-17630F8459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6C989B-51AF-A042-3DB0-545A7B12E6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C1296-A361-4B17-B468-615AD1443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094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3A361C-88B4-AB1E-A0B0-6829EE4239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A1480AC-5E21-2074-26B1-85035CB874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03F27E-5925-FCF8-3824-83C04C35FA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B1472-51F3-41B6-B8EB-AAB702542464}" type="datetimeFigureOut">
              <a:rPr lang="en-US" smtClean="0"/>
              <a:t>6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C8A953-9245-F5B5-2254-486255E9B2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64AFD2-5EAC-0A3D-CD24-AD80254CB4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C1296-A361-4B17-B468-615AD1443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5849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4D33129-7832-1155-E377-77E7DFD8779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1DA0371-9463-3ECF-3983-437AD4C1B5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CDD7BB-519A-13EE-7697-C16D2BA530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B1472-51F3-41B6-B8EB-AAB702542464}" type="datetimeFigureOut">
              <a:rPr lang="en-US" smtClean="0"/>
              <a:t>6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59EF01-80AF-07AB-0D26-F781EEB65E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AB5F94-0610-30F3-DD27-D332D41DDF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C1296-A361-4B17-B468-615AD1443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5923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ido_ Título lar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76A04C-6582-48CA-B4EC-C10FB1FF5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76A04C-6582-48CA-B4EC-C10FB1FF5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BB75FDC6-4DA5-4863-9C79-1F3EBC749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657" y="479745"/>
            <a:ext cx="11320907" cy="396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MX" sz="2000" dirty="0">
                <a:gradFill flip="none" rotWithShape="1">
                  <a:gsLst>
                    <a:gs pos="0">
                      <a:srgbClr val="FF3306"/>
                    </a:gs>
                    <a:gs pos="100000">
                      <a:srgbClr val="FF7B5D"/>
                    </a:gs>
                  </a:gsLst>
                  <a:lin ang="8400000" scaled="0"/>
                  <a:tileRect/>
                </a:gradFill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marL="228600" lvl="0" indent="-228600">
              <a:spcBef>
                <a:spcPts val="600"/>
              </a:spcBef>
            </a:pPr>
            <a:r>
              <a:rPr lang="es-MX"/>
              <a:t>CLICK TO EDIT MASTER TEXT STYLES</a:t>
            </a:r>
          </a:p>
        </p:txBody>
      </p:sp>
      <p:sp>
        <p:nvSpPr>
          <p:cNvPr id="8" name="Slide Number Placeholder 16">
            <a:extLst>
              <a:ext uri="{FF2B5EF4-FFF2-40B4-BE49-F238E27FC236}">
                <a16:creationId xmlns:a16="http://schemas.microsoft.com/office/drawing/2014/main" id="{78E78403-9366-3BFC-8A24-D0ABA9D8598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47762" y="6356350"/>
            <a:ext cx="374072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AF247844-469D-86C5-FE1E-2A1E0CA3A4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5656" y="1630661"/>
            <a:ext cx="11320907" cy="2982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kumimoji="0" lang="es-419" sz="1200" b="0" i="0" u="none" strike="noStrike" kern="1200" cap="none" spc="0" normalizeH="0" baseline="0" noProof="0" dirty="0">
                <a:ln>
                  <a:noFill/>
                </a:ln>
                <a:solidFill>
                  <a:srgbClr val="3F5073"/>
                </a:solidFill>
                <a:effectLst/>
                <a:uLnTx/>
                <a:uFillTx/>
                <a:latin typeface="Open Sans Light"/>
                <a:ea typeface="Open Sans"/>
                <a:cs typeface="Open Sans"/>
              </a:defRPr>
            </a:lvl1pPr>
          </a:lstStyle>
          <a:p>
            <a:pPr lvl="0"/>
            <a:endParaRPr lang="es-419" noProof="0"/>
          </a:p>
        </p:txBody>
      </p:sp>
    </p:spTree>
    <p:extLst>
      <p:ext uri="{BB962C8B-B14F-4D97-AF65-F5344CB8AC3E}">
        <p14:creationId xmlns:p14="http://schemas.microsoft.com/office/powerpoint/2010/main" val="2733970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ido_ Título lar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76A04C-6582-48CA-B4EC-C10FB1FF5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76A04C-6582-48CA-B4EC-C10FB1FF5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BB75FDC6-4DA5-4863-9C79-1F3EBC749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657" y="479745"/>
            <a:ext cx="11320907" cy="39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s-MX" sz="2000" dirty="0">
                <a:gradFill flip="none" rotWithShape="1">
                  <a:gsLst>
                    <a:gs pos="0">
                      <a:srgbClr val="FF3306"/>
                    </a:gs>
                    <a:gs pos="100000">
                      <a:srgbClr val="FF7B5D"/>
                    </a:gs>
                  </a:gsLst>
                  <a:lin ang="8400000" scaled="0"/>
                  <a:tileRect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marL="228600" lvl="0" indent="-228600">
              <a:spcBef>
                <a:spcPts val="600"/>
              </a:spcBef>
            </a:pPr>
            <a:r>
              <a:rPr lang="es-MX"/>
              <a:t>CLICK TO EDIT MASTER TEXT STYLES</a:t>
            </a:r>
          </a:p>
        </p:txBody>
      </p:sp>
      <p:sp>
        <p:nvSpPr>
          <p:cNvPr id="8" name="Slide Number Placeholder 16">
            <a:extLst>
              <a:ext uri="{FF2B5EF4-FFF2-40B4-BE49-F238E27FC236}">
                <a16:creationId xmlns:a16="http://schemas.microsoft.com/office/drawing/2014/main" id="{78E78403-9366-3BFC-8A24-D0ABA9D8598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47762" y="6356350"/>
            <a:ext cx="374072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4CD5EE6-B07D-46D8-B98F-6FBF37506E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B24441AA-7693-6AD3-82D8-7439C63A4F2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5656" y="1186016"/>
            <a:ext cx="11320907" cy="2982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kumimoji="0" lang="es-419" sz="1200" b="0" i="0" u="none" strike="noStrike" kern="1200" cap="none" spc="0" normalizeH="0" baseline="0" noProof="0" dirty="0">
                <a:ln>
                  <a:noFill/>
                </a:ln>
                <a:solidFill>
                  <a:srgbClr val="3F5073"/>
                </a:solidFill>
                <a:effectLst/>
                <a:uLnTx/>
                <a:uFillTx/>
                <a:latin typeface="Open Sans Light"/>
                <a:ea typeface="Open Sans"/>
                <a:cs typeface="Open Sans"/>
              </a:defRPr>
            </a:lvl1pPr>
          </a:lstStyle>
          <a:p>
            <a:pPr lvl="0"/>
            <a:endParaRPr lang="es-419" noProof="0"/>
          </a:p>
        </p:txBody>
      </p:sp>
    </p:spTree>
    <p:extLst>
      <p:ext uri="{BB962C8B-B14F-4D97-AF65-F5344CB8AC3E}">
        <p14:creationId xmlns:p14="http://schemas.microsoft.com/office/powerpoint/2010/main" val="12012737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04046" y="179494"/>
            <a:ext cx="11987953" cy="716468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04046" y="947138"/>
            <a:ext cx="11987953" cy="5910861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852431" y="896055"/>
            <a:ext cx="728345" cy="7804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0" i="0">
                <a:solidFill>
                  <a:srgbClr val="F86D35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50" b="0" i="0">
                <a:solidFill>
                  <a:srgbClr val="F86D35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7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0" i="0">
                <a:solidFill>
                  <a:srgbClr val="F86D35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50" b="0" i="0">
                <a:solidFill>
                  <a:srgbClr val="F86D35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7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0" i="0">
                <a:solidFill>
                  <a:srgbClr val="F86D35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7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0" i="0">
                <a:solidFill>
                  <a:srgbClr val="F86D35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7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7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8A8A2D-3D51-FD7C-F5A1-21E511FC3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FC8667-EAD3-F202-1A0E-1F682B1E65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2F405B-AC52-6EF5-2E98-8314EE57A7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B1472-51F3-41B6-B8EB-AAB702542464}" type="datetimeFigureOut">
              <a:rPr lang="en-US" smtClean="0"/>
              <a:t>6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5C4B59-1907-C9D1-9E71-A442EA6CFF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DF20C0-8CE5-C4AE-DE5E-3AAA475D06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C1296-A361-4B17-B468-615AD1443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77442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8D475C-F392-73F7-0985-51A1566B5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6462C4-BE21-77C5-3B78-87DD97C74D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8D578A-0D0E-4400-EBCD-07F88179B8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B1472-51F3-41B6-B8EB-AAB702542464}" type="datetimeFigureOut">
              <a:rPr lang="en-US" smtClean="0"/>
              <a:t>6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8C3738-DB3F-C5F8-054F-AE9CFFF71F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1B6A6-BEBA-C3A8-825B-A833155E9C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C1296-A361-4B17-B468-615AD1443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99913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1CC34C-5C2D-B611-D389-5D879296FD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71685A-48E4-B337-E41F-8F01FC62FB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CD16B84-44E7-CDA1-C296-B28C493C0B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A44D5F-A94A-D59D-9BED-18E530D42A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B1472-51F3-41B6-B8EB-AAB702542464}" type="datetimeFigureOut">
              <a:rPr lang="en-US" smtClean="0"/>
              <a:t>6/1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73AF34-650B-82AF-6855-065DA53196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A65586-5769-A196-6AFC-277EC82B9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C1296-A361-4B17-B468-615AD1443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3389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072EC0-2B7A-A841-2307-0D5E4A3F24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B2C4ED-C067-A982-6E25-69B095C5F2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28B5DAF-385A-A441-2263-707D69F2EC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DF7697-06B6-DDB2-026B-4121B3DAFF5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69E8207-004A-79B3-4B68-DC4D1F5D10E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B1CF8D-C587-C516-D6BC-B29010660C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B1472-51F3-41B6-B8EB-AAB702542464}" type="datetimeFigureOut">
              <a:rPr lang="en-US" smtClean="0"/>
              <a:t>6/1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4D4C097-1739-E3F6-6D36-0720D7659C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7D9BD7-14DF-7F82-9D48-3B41F28D63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C1296-A361-4B17-B468-615AD1443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01210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3E0356-808F-DDCB-2613-79478B7FC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FCD7F7-3868-714A-DF45-66110FF475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B1472-51F3-41B6-B8EB-AAB702542464}" type="datetimeFigureOut">
              <a:rPr lang="en-US" smtClean="0"/>
              <a:t>6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630173-9748-FF89-BD00-F6B0110CC4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B2FE4D-61A1-5640-0BFE-AEE8F95FC1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C1296-A361-4B17-B468-615AD1443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348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3A4BCB0-B02A-A1AC-B52A-E8F7D0271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B1472-51F3-41B6-B8EB-AAB702542464}" type="datetimeFigureOut">
              <a:rPr lang="en-US" smtClean="0"/>
              <a:t>6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664BCD-A7ED-8D8B-C055-9D7AAF1BA2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D18090-04FB-C291-BFB0-F42957613F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C1296-A361-4B17-B468-615AD1443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4674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C2E8D3-D8AD-7817-BD3C-4B5D7F6967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01F829-BE33-33C5-6621-BDD3EEFC8A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F94CA7-1987-C0F0-B2B3-FF6A282DD0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24C0839-9B3F-EB18-1983-1A14881C44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B1472-51F3-41B6-B8EB-AAB702542464}" type="datetimeFigureOut">
              <a:rPr lang="en-US" smtClean="0"/>
              <a:t>6/1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F8A0C35-6EB7-ACFF-6287-6CAEFA3AE9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C66A9D-3C1C-CE7A-4EC3-F25E54009D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C1296-A361-4B17-B468-615AD1443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4266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EEBC55-9419-B88C-02FD-5E59053741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EFCBA23-A848-E953-7201-995893222DC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8F19C8-147C-C7A5-D59A-F9BAF2CB248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B9B8F3-57F3-6D6F-CE48-DFB7BED60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B1472-51F3-41B6-B8EB-AAB702542464}" type="datetimeFigureOut">
              <a:rPr lang="en-US" smtClean="0"/>
              <a:t>6/1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4AFD86-1312-01B5-39B7-CA2719B7ED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2AEE72-C6CB-8EBF-44B1-C3B7B7D1E4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C1296-A361-4B17-B468-615AD1443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3383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33A503-9FEA-7E59-BB74-AD7BE3A7CD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DDFEB3-6F32-0796-AF34-2FBC5F1F5F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C854A2-C521-6F03-CA90-34DB0FB658E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6B1472-51F3-41B6-B8EB-AAB702542464}" type="datetimeFigureOut">
              <a:rPr lang="en-US" smtClean="0"/>
              <a:t>6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40A001-B1C7-8288-881D-1097F40414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A66A46-85D0-97FB-F937-222E510C63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6C1296-A361-4B17-B468-615AD1443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3506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66419" y="412178"/>
            <a:ext cx="10012045" cy="6482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0" i="0">
                <a:solidFill>
                  <a:srgbClr val="F86D35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395851" y="1162621"/>
            <a:ext cx="7064375" cy="15119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50" b="0" i="0">
                <a:solidFill>
                  <a:srgbClr val="F86D35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7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13" Type="http://schemas.openxmlformats.org/officeDocument/2006/relationships/image" Target="../media/image111.png"/><Relationship Id="rId3" Type="http://schemas.openxmlformats.org/officeDocument/2006/relationships/image" Target="../media/image101.png"/><Relationship Id="rId7" Type="http://schemas.openxmlformats.org/officeDocument/2006/relationships/image" Target="../media/image105.svg"/><Relationship Id="rId12" Type="http://schemas.openxmlformats.org/officeDocument/2006/relationships/image" Target="../media/image110.png"/><Relationship Id="rId17" Type="http://schemas.openxmlformats.org/officeDocument/2006/relationships/image" Target="../media/image115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4.png"/><Relationship Id="rId11" Type="http://schemas.openxmlformats.org/officeDocument/2006/relationships/image" Target="../media/image109.png"/><Relationship Id="rId5" Type="http://schemas.openxmlformats.org/officeDocument/2006/relationships/image" Target="../media/image103.png"/><Relationship Id="rId15" Type="http://schemas.openxmlformats.org/officeDocument/2006/relationships/image" Target="../media/image113.svg"/><Relationship Id="rId10" Type="http://schemas.openxmlformats.org/officeDocument/2006/relationships/image" Target="../media/image108.png"/><Relationship Id="rId4" Type="http://schemas.openxmlformats.org/officeDocument/2006/relationships/image" Target="../media/image102.png"/><Relationship Id="rId9" Type="http://schemas.openxmlformats.org/officeDocument/2006/relationships/image" Target="../media/image107.svg"/><Relationship Id="rId14" Type="http://schemas.openxmlformats.org/officeDocument/2006/relationships/image" Target="../media/image11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26" Type="http://schemas.openxmlformats.org/officeDocument/2006/relationships/image" Target="../media/image31.png"/><Relationship Id="rId3" Type="http://schemas.openxmlformats.org/officeDocument/2006/relationships/tags" Target="../tags/tag5.xml"/><Relationship Id="rId21" Type="http://schemas.openxmlformats.org/officeDocument/2006/relationships/image" Target="../media/image26.png"/><Relationship Id="rId34" Type="http://schemas.openxmlformats.org/officeDocument/2006/relationships/image" Target="../media/image39.svg"/><Relationship Id="rId7" Type="http://schemas.openxmlformats.org/officeDocument/2006/relationships/image" Target="../media/image13.svg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5" Type="http://schemas.openxmlformats.org/officeDocument/2006/relationships/image" Target="../media/image30.png"/><Relationship Id="rId33" Type="http://schemas.openxmlformats.org/officeDocument/2006/relationships/image" Target="../media/image38.png"/><Relationship Id="rId2" Type="http://schemas.openxmlformats.org/officeDocument/2006/relationships/tags" Target="../tags/tag4.xml"/><Relationship Id="rId16" Type="http://schemas.openxmlformats.org/officeDocument/2006/relationships/image" Target="../media/image21.svg"/><Relationship Id="rId20" Type="http://schemas.openxmlformats.org/officeDocument/2006/relationships/image" Target="../media/image25.svg"/><Relationship Id="rId29" Type="http://schemas.openxmlformats.org/officeDocument/2006/relationships/image" Target="../media/image34.svg"/><Relationship Id="rId1" Type="http://schemas.openxmlformats.org/officeDocument/2006/relationships/tags" Target="../tags/tag3.xml"/><Relationship Id="rId6" Type="http://schemas.openxmlformats.org/officeDocument/2006/relationships/image" Target="../media/image12.png"/><Relationship Id="rId11" Type="http://schemas.openxmlformats.org/officeDocument/2006/relationships/image" Target="../media/image16.png"/><Relationship Id="rId24" Type="http://schemas.openxmlformats.org/officeDocument/2006/relationships/image" Target="../media/image29.svg"/><Relationship Id="rId32" Type="http://schemas.openxmlformats.org/officeDocument/2006/relationships/image" Target="../media/image37.sv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28" Type="http://schemas.openxmlformats.org/officeDocument/2006/relationships/image" Target="../media/image33.png"/><Relationship Id="rId10" Type="http://schemas.openxmlformats.org/officeDocument/2006/relationships/image" Target="../media/image15.emf"/><Relationship Id="rId19" Type="http://schemas.openxmlformats.org/officeDocument/2006/relationships/image" Target="../media/image24.png"/><Relationship Id="rId31" Type="http://schemas.openxmlformats.org/officeDocument/2006/relationships/image" Target="../media/image36.png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3.bin"/><Relationship Id="rId14" Type="http://schemas.openxmlformats.org/officeDocument/2006/relationships/image" Target="../media/image19.svg"/><Relationship Id="rId22" Type="http://schemas.openxmlformats.org/officeDocument/2006/relationships/image" Target="../media/image27.svg"/><Relationship Id="rId27" Type="http://schemas.openxmlformats.org/officeDocument/2006/relationships/image" Target="../media/image32.svg"/><Relationship Id="rId30" Type="http://schemas.openxmlformats.org/officeDocument/2006/relationships/image" Target="../media/image35.png"/><Relationship Id="rId35" Type="http://schemas.openxmlformats.org/officeDocument/2006/relationships/image" Target="../media/image40.png"/><Relationship Id="rId8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9.svg"/><Relationship Id="rId18" Type="http://schemas.openxmlformats.org/officeDocument/2006/relationships/image" Target="../media/image54.png"/><Relationship Id="rId26" Type="http://schemas.openxmlformats.org/officeDocument/2006/relationships/image" Target="../media/image62.png"/><Relationship Id="rId39" Type="http://schemas.openxmlformats.org/officeDocument/2006/relationships/image" Target="../media/image75.svg"/><Relationship Id="rId21" Type="http://schemas.openxmlformats.org/officeDocument/2006/relationships/image" Target="../media/image57.svg"/><Relationship Id="rId34" Type="http://schemas.openxmlformats.org/officeDocument/2006/relationships/image" Target="../media/image70.png"/><Relationship Id="rId7" Type="http://schemas.openxmlformats.org/officeDocument/2006/relationships/image" Target="../media/image43.svg"/><Relationship Id="rId12" Type="http://schemas.openxmlformats.org/officeDocument/2006/relationships/image" Target="../media/image48.png"/><Relationship Id="rId17" Type="http://schemas.openxmlformats.org/officeDocument/2006/relationships/image" Target="../media/image53.svg"/><Relationship Id="rId25" Type="http://schemas.openxmlformats.org/officeDocument/2006/relationships/image" Target="../media/image61.svg"/><Relationship Id="rId33" Type="http://schemas.openxmlformats.org/officeDocument/2006/relationships/image" Target="../media/image69.svg"/><Relationship Id="rId38" Type="http://schemas.openxmlformats.org/officeDocument/2006/relationships/image" Target="../media/image74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52.png"/><Relationship Id="rId20" Type="http://schemas.openxmlformats.org/officeDocument/2006/relationships/image" Target="../media/image56.png"/><Relationship Id="rId29" Type="http://schemas.openxmlformats.org/officeDocument/2006/relationships/image" Target="../media/image65.svg"/><Relationship Id="rId1" Type="http://schemas.openxmlformats.org/officeDocument/2006/relationships/tags" Target="../tags/tag6.xml"/><Relationship Id="rId6" Type="http://schemas.openxmlformats.org/officeDocument/2006/relationships/image" Target="../media/image42.png"/><Relationship Id="rId11" Type="http://schemas.openxmlformats.org/officeDocument/2006/relationships/image" Target="../media/image47.svg"/><Relationship Id="rId24" Type="http://schemas.openxmlformats.org/officeDocument/2006/relationships/image" Target="../media/image60.png"/><Relationship Id="rId32" Type="http://schemas.openxmlformats.org/officeDocument/2006/relationships/image" Target="../media/image68.png"/><Relationship Id="rId37" Type="http://schemas.openxmlformats.org/officeDocument/2006/relationships/image" Target="../media/image73.png"/><Relationship Id="rId5" Type="http://schemas.openxmlformats.org/officeDocument/2006/relationships/image" Target="../media/image41.emf"/><Relationship Id="rId15" Type="http://schemas.openxmlformats.org/officeDocument/2006/relationships/image" Target="../media/image51.svg"/><Relationship Id="rId23" Type="http://schemas.openxmlformats.org/officeDocument/2006/relationships/image" Target="../media/image59.svg"/><Relationship Id="rId28" Type="http://schemas.openxmlformats.org/officeDocument/2006/relationships/image" Target="../media/image64.png"/><Relationship Id="rId36" Type="http://schemas.openxmlformats.org/officeDocument/2006/relationships/image" Target="../media/image72.png"/><Relationship Id="rId10" Type="http://schemas.openxmlformats.org/officeDocument/2006/relationships/image" Target="../media/image46.png"/><Relationship Id="rId19" Type="http://schemas.openxmlformats.org/officeDocument/2006/relationships/image" Target="../media/image55.svg"/><Relationship Id="rId31" Type="http://schemas.openxmlformats.org/officeDocument/2006/relationships/image" Target="../media/image67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45.svg"/><Relationship Id="rId14" Type="http://schemas.openxmlformats.org/officeDocument/2006/relationships/image" Target="../media/image50.png"/><Relationship Id="rId22" Type="http://schemas.openxmlformats.org/officeDocument/2006/relationships/image" Target="../media/image58.png"/><Relationship Id="rId27" Type="http://schemas.openxmlformats.org/officeDocument/2006/relationships/image" Target="../media/image63.svg"/><Relationship Id="rId30" Type="http://schemas.openxmlformats.org/officeDocument/2006/relationships/image" Target="../media/image66.png"/><Relationship Id="rId35" Type="http://schemas.openxmlformats.org/officeDocument/2006/relationships/image" Target="../media/image71.svg"/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13" Type="http://schemas.openxmlformats.org/officeDocument/2006/relationships/image" Target="../media/image87.svg"/><Relationship Id="rId18" Type="http://schemas.openxmlformats.org/officeDocument/2006/relationships/image" Target="../media/image92.png"/><Relationship Id="rId3" Type="http://schemas.openxmlformats.org/officeDocument/2006/relationships/image" Target="../media/image77.png"/><Relationship Id="rId21" Type="http://schemas.openxmlformats.org/officeDocument/2006/relationships/image" Target="../media/image95.png"/><Relationship Id="rId7" Type="http://schemas.openxmlformats.org/officeDocument/2006/relationships/image" Target="../media/image81.svg"/><Relationship Id="rId12" Type="http://schemas.openxmlformats.org/officeDocument/2006/relationships/image" Target="../media/image86.png"/><Relationship Id="rId17" Type="http://schemas.openxmlformats.org/officeDocument/2006/relationships/image" Target="../media/image91.svg"/><Relationship Id="rId25" Type="http://schemas.openxmlformats.org/officeDocument/2006/relationships/image" Target="../media/image99.sv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90.png"/><Relationship Id="rId20" Type="http://schemas.openxmlformats.org/officeDocument/2006/relationships/image" Target="../media/image9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0.png"/><Relationship Id="rId11" Type="http://schemas.openxmlformats.org/officeDocument/2006/relationships/image" Target="../media/image85.svg"/><Relationship Id="rId24" Type="http://schemas.openxmlformats.org/officeDocument/2006/relationships/image" Target="../media/image98.png"/><Relationship Id="rId5" Type="http://schemas.openxmlformats.org/officeDocument/2006/relationships/image" Target="../media/image79.png"/><Relationship Id="rId15" Type="http://schemas.openxmlformats.org/officeDocument/2006/relationships/image" Target="../media/image89.svg"/><Relationship Id="rId23" Type="http://schemas.openxmlformats.org/officeDocument/2006/relationships/image" Target="../media/image97.png"/><Relationship Id="rId10" Type="http://schemas.openxmlformats.org/officeDocument/2006/relationships/image" Target="../media/image84.png"/><Relationship Id="rId19" Type="http://schemas.openxmlformats.org/officeDocument/2006/relationships/image" Target="../media/image93.svg"/><Relationship Id="rId4" Type="http://schemas.openxmlformats.org/officeDocument/2006/relationships/image" Target="../media/image78.png"/><Relationship Id="rId9" Type="http://schemas.openxmlformats.org/officeDocument/2006/relationships/image" Target="../media/image83.svg"/><Relationship Id="rId14" Type="http://schemas.openxmlformats.org/officeDocument/2006/relationships/image" Target="../media/image88.png"/><Relationship Id="rId22" Type="http://schemas.openxmlformats.org/officeDocument/2006/relationships/image" Target="../media/image96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>
            <a:extLst>
              <a:ext uri="{FF2B5EF4-FFF2-40B4-BE49-F238E27FC236}">
                <a16:creationId xmlns:a16="http://schemas.microsoft.com/office/drawing/2014/main" id="{37975699-9167-63E9-1AA8-C5619354DF3E}"/>
              </a:ext>
            </a:extLst>
          </p:cNvPr>
          <p:cNvSpPr txBox="1"/>
          <p:nvPr/>
        </p:nvSpPr>
        <p:spPr>
          <a:xfrm>
            <a:off x="560810" y="4489299"/>
            <a:ext cx="609490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20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rtificial </a:t>
            </a:r>
            <a:r>
              <a:rPr lang="es-MX" sz="2000" dirty="0" err="1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telligence</a:t>
            </a:r>
            <a:endParaRPr lang="es-MX" sz="2000" dirty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r>
              <a:rPr lang="es-MX" sz="2000" dirty="0" err="1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pplied</a:t>
            </a:r>
            <a:r>
              <a:rPr lang="es-MX" sz="20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r>
              <a:rPr lang="es-MX" sz="2000" dirty="0" err="1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to</a:t>
            </a:r>
            <a:r>
              <a:rPr lang="es-MX" sz="20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QA </a:t>
            </a:r>
            <a:r>
              <a:rPr lang="es-MX" sz="2000" dirty="0" err="1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Processes</a:t>
            </a:r>
            <a:endParaRPr lang="es-MX" sz="2000" dirty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98701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Imagen que contiene oscuro, computadora, computer, luz&#10;&#10;El contenido generado por IA puede ser incorrecto.">
            <a:extLst>
              <a:ext uri="{FF2B5EF4-FFF2-40B4-BE49-F238E27FC236}">
                <a16:creationId xmlns:a16="http://schemas.microsoft.com/office/drawing/2014/main" id="{21401701-F04E-6143-18AD-750FC777FC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4765" y="916011"/>
            <a:ext cx="1106573" cy="3647513"/>
          </a:xfrm>
          <a:prstGeom prst="rect">
            <a:avLst/>
          </a:prstGeom>
        </p:spPr>
      </p:pic>
      <p:pic>
        <p:nvPicPr>
          <p:cNvPr id="17" name="Imagen 16" descr="Forma, Rectángulo, Cuadrado&#10;&#10;El contenido generado por IA puede ser incorrecto.">
            <a:extLst>
              <a:ext uri="{FF2B5EF4-FFF2-40B4-BE49-F238E27FC236}">
                <a16:creationId xmlns:a16="http://schemas.microsoft.com/office/drawing/2014/main" id="{7AF7234F-52C5-644E-3CB3-41FC85B0C8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7952" y="1908424"/>
            <a:ext cx="3449262" cy="3616686"/>
          </a:xfrm>
          <a:prstGeom prst="rect">
            <a:avLst/>
          </a:prstGeom>
        </p:spPr>
      </p:pic>
      <p:pic>
        <p:nvPicPr>
          <p:cNvPr id="36" name="Imagen 35" descr="Forma, Rectángulo, Cuadrado&#10;&#10;El contenido generado por IA puede ser incorrecto.">
            <a:extLst>
              <a:ext uri="{FF2B5EF4-FFF2-40B4-BE49-F238E27FC236}">
                <a16:creationId xmlns:a16="http://schemas.microsoft.com/office/drawing/2014/main" id="{9E65C4EC-E074-41A6-3B2A-D26D8E0341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9171" y="2411814"/>
            <a:ext cx="2035019" cy="1634766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398FDA9F-A703-B694-723B-F9B066D7EAFE}"/>
              </a:ext>
            </a:extLst>
          </p:cNvPr>
          <p:cNvSpPr/>
          <p:nvPr/>
        </p:nvSpPr>
        <p:spPr>
          <a:xfrm>
            <a:off x="8827344" y="2178193"/>
            <a:ext cx="3147007" cy="1887008"/>
          </a:xfrm>
          <a:prstGeom prst="roundRect">
            <a:avLst>
              <a:gd name="adj" fmla="val 9187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8918868-4604-2B63-3928-925F8E1F7A5E}"/>
              </a:ext>
            </a:extLst>
          </p:cNvPr>
          <p:cNvSpPr txBox="1"/>
          <p:nvPr/>
        </p:nvSpPr>
        <p:spPr>
          <a:xfrm>
            <a:off x="9541645" y="1758799"/>
            <a:ext cx="17826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111A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Functional Testing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8BF9EA7-AA3C-6AF4-B0E3-4F8809941564}"/>
              </a:ext>
            </a:extLst>
          </p:cNvPr>
          <p:cNvSpPr/>
          <p:nvPr/>
        </p:nvSpPr>
        <p:spPr>
          <a:xfrm>
            <a:off x="9086265" y="4639846"/>
            <a:ext cx="2836237" cy="183918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F86F3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73947EB-DD0E-055D-E0B6-2119013DBDCE}"/>
              </a:ext>
            </a:extLst>
          </p:cNvPr>
          <p:cNvSpPr txBox="1"/>
          <p:nvPr/>
        </p:nvSpPr>
        <p:spPr>
          <a:xfrm>
            <a:off x="9505423" y="6498138"/>
            <a:ext cx="22356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111A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Non-Functional Testing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E3E4F80F-16B9-00A6-46F1-C5E1323886E0}"/>
              </a:ext>
            </a:extLst>
          </p:cNvPr>
          <p:cNvSpPr txBox="1"/>
          <p:nvPr/>
        </p:nvSpPr>
        <p:spPr>
          <a:xfrm>
            <a:off x="2653855" y="2100177"/>
            <a:ext cx="7785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86F3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gents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9F02385D-ADFC-9F4E-C2F2-DED2E207643F}"/>
              </a:ext>
            </a:extLst>
          </p:cNvPr>
          <p:cNvSpPr txBox="1"/>
          <p:nvPr/>
        </p:nvSpPr>
        <p:spPr>
          <a:xfrm>
            <a:off x="6837761" y="2094114"/>
            <a:ext cx="7978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111A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esig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52CF309-459A-4F24-C519-4992F5C813EC}"/>
              </a:ext>
            </a:extLst>
          </p:cNvPr>
          <p:cNvSpPr txBox="1"/>
          <p:nvPr/>
        </p:nvSpPr>
        <p:spPr>
          <a:xfrm>
            <a:off x="4719928" y="2097380"/>
            <a:ext cx="6742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86F3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LLMs</a:t>
            </a:r>
          </a:p>
        </p:txBody>
      </p:sp>
      <p:cxnSp>
        <p:nvCxnSpPr>
          <p:cNvPr id="156" name="Connector: Elbow 155">
            <a:extLst>
              <a:ext uri="{FF2B5EF4-FFF2-40B4-BE49-F238E27FC236}">
                <a16:creationId xmlns:a16="http://schemas.microsoft.com/office/drawing/2014/main" id="{0268706E-DDC6-2801-9BCC-00F1D33213F0}"/>
              </a:ext>
            </a:extLst>
          </p:cNvPr>
          <p:cNvCxnSpPr>
            <a:cxnSpLocks/>
            <a:endCxn id="79" idx="1"/>
          </p:cNvCxnSpPr>
          <p:nvPr/>
        </p:nvCxnSpPr>
        <p:spPr>
          <a:xfrm rot="16200000" flipH="1">
            <a:off x="7817680" y="4290851"/>
            <a:ext cx="1512857" cy="1024313"/>
          </a:xfrm>
          <a:prstGeom prst="bentConnector2">
            <a:avLst/>
          </a:prstGeom>
          <a:ln>
            <a:solidFill>
              <a:srgbClr val="F86F3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tangle 163">
            <a:extLst>
              <a:ext uri="{FF2B5EF4-FFF2-40B4-BE49-F238E27FC236}">
                <a16:creationId xmlns:a16="http://schemas.microsoft.com/office/drawing/2014/main" id="{3AF4220B-7262-4535-D613-E8264A9103F0}"/>
              </a:ext>
            </a:extLst>
          </p:cNvPr>
          <p:cNvSpPr/>
          <p:nvPr/>
        </p:nvSpPr>
        <p:spPr>
          <a:xfrm>
            <a:off x="9035013" y="2579999"/>
            <a:ext cx="2764338" cy="116592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1" dirty="0"/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F6F3F625-3D7C-AA70-B0F6-EC860BB24232}"/>
              </a:ext>
            </a:extLst>
          </p:cNvPr>
          <p:cNvSpPr txBox="1"/>
          <p:nvPr/>
        </p:nvSpPr>
        <p:spPr>
          <a:xfrm>
            <a:off x="9614723" y="2247976"/>
            <a:ext cx="18865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utomation Scripting</a:t>
            </a: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6AFF9095-6252-40CF-A4A0-4DEFA4A99613}"/>
              </a:ext>
            </a:extLst>
          </p:cNvPr>
          <p:cNvSpPr/>
          <p:nvPr/>
        </p:nvSpPr>
        <p:spPr>
          <a:xfrm>
            <a:off x="5802018" y="5398399"/>
            <a:ext cx="2163696" cy="1239778"/>
          </a:xfrm>
          <a:prstGeom prst="roundRect">
            <a:avLst/>
          </a:prstGeom>
          <a:noFill/>
          <a:ln>
            <a:solidFill>
              <a:srgbClr val="F86F3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01CB710E-DED5-A193-F927-2215C6167FDA}"/>
              </a:ext>
            </a:extLst>
          </p:cNvPr>
          <p:cNvSpPr txBox="1"/>
          <p:nvPr/>
        </p:nvSpPr>
        <p:spPr>
          <a:xfrm>
            <a:off x="6205603" y="5107766"/>
            <a:ext cx="13513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111A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anagemen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81962B2-ADD6-993B-50FC-7EDDE7DBDC42}"/>
              </a:ext>
            </a:extLst>
          </p:cNvPr>
          <p:cNvSpPr/>
          <p:nvPr/>
        </p:nvSpPr>
        <p:spPr>
          <a:xfrm>
            <a:off x="3337898" y="5368966"/>
            <a:ext cx="1444032" cy="312288"/>
          </a:xfrm>
          <a:prstGeom prst="roundRect">
            <a:avLst/>
          </a:prstGeom>
          <a:solidFill>
            <a:srgbClr val="3F50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AI Cor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D922C9C-6F92-94D7-58FE-C292AB099E92}"/>
              </a:ext>
            </a:extLst>
          </p:cNvPr>
          <p:cNvSpPr/>
          <p:nvPr/>
        </p:nvSpPr>
        <p:spPr>
          <a:xfrm>
            <a:off x="4358975" y="4597329"/>
            <a:ext cx="1187440" cy="588492"/>
          </a:xfrm>
          <a:prstGeom prst="roundRect">
            <a:avLst/>
          </a:prstGeom>
          <a:solidFill>
            <a:srgbClr val="3F50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Stratis AI Knowledge Managemen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D29F5B5-46B5-F3AE-7746-073A2179BFB8}"/>
              </a:ext>
            </a:extLst>
          </p:cNvPr>
          <p:cNvSpPr/>
          <p:nvPr/>
        </p:nvSpPr>
        <p:spPr>
          <a:xfrm>
            <a:off x="8852736" y="340873"/>
            <a:ext cx="2690359" cy="1262675"/>
          </a:xfrm>
          <a:prstGeom prst="roundRect">
            <a:avLst>
              <a:gd name="adj" fmla="val 11321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033D92-017F-2B9B-9B04-D95AAC25A916}"/>
              </a:ext>
            </a:extLst>
          </p:cNvPr>
          <p:cNvSpPr txBox="1"/>
          <p:nvPr/>
        </p:nvSpPr>
        <p:spPr>
          <a:xfrm>
            <a:off x="9912796" y="42381"/>
            <a:ext cx="5702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111A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UA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5BEF90D-7179-BCF1-DFD8-15A9D2896213}"/>
              </a:ext>
            </a:extLst>
          </p:cNvPr>
          <p:cNvSpPr/>
          <p:nvPr/>
        </p:nvSpPr>
        <p:spPr>
          <a:xfrm>
            <a:off x="245225" y="2043869"/>
            <a:ext cx="1171327" cy="536130"/>
          </a:xfrm>
          <a:prstGeom prst="roundRect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Desktop Application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486EAE33-F98C-E278-FF4E-B6AF5ED77E69}"/>
              </a:ext>
            </a:extLst>
          </p:cNvPr>
          <p:cNvSpPr/>
          <p:nvPr/>
        </p:nvSpPr>
        <p:spPr>
          <a:xfrm>
            <a:off x="245225" y="2726719"/>
            <a:ext cx="1171327" cy="536130"/>
          </a:xfrm>
          <a:prstGeom prst="roundRect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Figma prototype</a:t>
            </a: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5489EFBD-9906-7B2E-BF9D-2DE6F4FB2F9A}"/>
              </a:ext>
            </a:extLst>
          </p:cNvPr>
          <p:cNvSpPr/>
          <p:nvPr/>
        </p:nvSpPr>
        <p:spPr>
          <a:xfrm>
            <a:off x="245225" y="3409569"/>
            <a:ext cx="1171327" cy="536130"/>
          </a:xfrm>
          <a:prstGeom prst="roundRect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Website</a:t>
            </a: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A8A491D5-D4A6-1EC2-F96F-A47DA125F62F}"/>
              </a:ext>
            </a:extLst>
          </p:cNvPr>
          <p:cNvSpPr/>
          <p:nvPr/>
        </p:nvSpPr>
        <p:spPr>
          <a:xfrm>
            <a:off x="245225" y="4092419"/>
            <a:ext cx="1171327" cy="536130"/>
          </a:xfrm>
          <a:prstGeom prst="roundRect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Mobile App</a:t>
            </a:r>
          </a:p>
        </p:txBody>
      </p:sp>
      <p:sp>
        <p:nvSpPr>
          <p:cNvPr id="20" name="Rectangle 5">
            <a:extLst>
              <a:ext uri="{FF2B5EF4-FFF2-40B4-BE49-F238E27FC236}">
                <a16:creationId xmlns:a16="http://schemas.microsoft.com/office/drawing/2014/main" id="{68653E80-1231-D963-98CD-6C32F531F8EB}"/>
              </a:ext>
            </a:extLst>
          </p:cNvPr>
          <p:cNvSpPr/>
          <p:nvPr/>
        </p:nvSpPr>
        <p:spPr>
          <a:xfrm>
            <a:off x="245225" y="4775268"/>
            <a:ext cx="1171327" cy="536130"/>
          </a:xfrm>
          <a:prstGeom prst="roundRect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Web-Based Application</a:t>
            </a:r>
          </a:p>
        </p:txBody>
      </p:sp>
      <p:sp>
        <p:nvSpPr>
          <p:cNvPr id="21" name="Rectángulo: esquinas redondeadas 20">
            <a:extLst>
              <a:ext uri="{FF2B5EF4-FFF2-40B4-BE49-F238E27FC236}">
                <a16:creationId xmlns:a16="http://schemas.microsoft.com/office/drawing/2014/main" id="{548D6CC0-10B4-626B-7C43-761940762705}"/>
              </a:ext>
            </a:extLst>
          </p:cNvPr>
          <p:cNvSpPr/>
          <p:nvPr/>
        </p:nvSpPr>
        <p:spPr>
          <a:xfrm>
            <a:off x="2456076" y="2530169"/>
            <a:ext cx="1072742" cy="373466"/>
          </a:xfrm>
          <a:prstGeom prst="roundRect">
            <a:avLst/>
          </a:prstGeom>
          <a:solidFill>
            <a:srgbClr val="0111A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GitHub Copilot</a:t>
            </a:r>
          </a:p>
        </p:txBody>
      </p:sp>
      <p:sp>
        <p:nvSpPr>
          <p:cNvPr id="22" name="Rectángulo: esquinas redondeadas 21">
            <a:extLst>
              <a:ext uri="{FF2B5EF4-FFF2-40B4-BE49-F238E27FC236}">
                <a16:creationId xmlns:a16="http://schemas.microsoft.com/office/drawing/2014/main" id="{1A1E73CC-7E42-1FEF-495B-FCAE70C63C26}"/>
              </a:ext>
            </a:extLst>
          </p:cNvPr>
          <p:cNvSpPr/>
          <p:nvPr/>
        </p:nvSpPr>
        <p:spPr>
          <a:xfrm>
            <a:off x="2456076" y="2983704"/>
            <a:ext cx="1072742" cy="373466"/>
          </a:xfrm>
          <a:prstGeom prst="roundRect">
            <a:avLst/>
          </a:prstGeom>
          <a:solidFill>
            <a:srgbClr val="0111A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Windsurf</a:t>
            </a:r>
          </a:p>
        </p:txBody>
      </p:sp>
      <p:sp>
        <p:nvSpPr>
          <p:cNvPr id="23" name="Rectángulo: esquinas redondeadas 22">
            <a:extLst>
              <a:ext uri="{FF2B5EF4-FFF2-40B4-BE49-F238E27FC236}">
                <a16:creationId xmlns:a16="http://schemas.microsoft.com/office/drawing/2014/main" id="{5EBFA946-CA99-D168-D982-855B6F7BD763}"/>
              </a:ext>
            </a:extLst>
          </p:cNvPr>
          <p:cNvSpPr/>
          <p:nvPr/>
        </p:nvSpPr>
        <p:spPr>
          <a:xfrm>
            <a:off x="2456076" y="3437239"/>
            <a:ext cx="1072742" cy="373466"/>
          </a:xfrm>
          <a:prstGeom prst="roundRect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Cursor AI</a:t>
            </a:r>
          </a:p>
        </p:txBody>
      </p:sp>
      <p:sp>
        <p:nvSpPr>
          <p:cNvPr id="24" name="Rectángulo: esquinas redondeadas 23">
            <a:extLst>
              <a:ext uri="{FF2B5EF4-FFF2-40B4-BE49-F238E27FC236}">
                <a16:creationId xmlns:a16="http://schemas.microsoft.com/office/drawing/2014/main" id="{858AD825-2225-3491-5E81-7AE0478B5B5F}"/>
              </a:ext>
            </a:extLst>
          </p:cNvPr>
          <p:cNvSpPr/>
          <p:nvPr/>
        </p:nvSpPr>
        <p:spPr>
          <a:xfrm>
            <a:off x="2456076" y="3890774"/>
            <a:ext cx="1072742" cy="373466"/>
          </a:xfrm>
          <a:prstGeom prst="roundRect">
            <a:avLst/>
          </a:prstGeom>
          <a:solidFill>
            <a:srgbClr val="0111A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Microsoft Copilot</a:t>
            </a:r>
          </a:p>
        </p:txBody>
      </p:sp>
      <p:sp>
        <p:nvSpPr>
          <p:cNvPr id="26" name="Rectángulo: esquinas redondeadas 25">
            <a:extLst>
              <a:ext uri="{FF2B5EF4-FFF2-40B4-BE49-F238E27FC236}">
                <a16:creationId xmlns:a16="http://schemas.microsoft.com/office/drawing/2014/main" id="{2DD5F8C8-BB25-EF70-5BFF-47E926691CDE}"/>
              </a:ext>
            </a:extLst>
          </p:cNvPr>
          <p:cNvSpPr/>
          <p:nvPr/>
        </p:nvSpPr>
        <p:spPr>
          <a:xfrm>
            <a:off x="2456076" y="4344309"/>
            <a:ext cx="1072742" cy="373466"/>
          </a:xfrm>
          <a:prstGeom prst="roundRect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Chat GPT</a:t>
            </a:r>
          </a:p>
        </p:txBody>
      </p:sp>
      <p:sp>
        <p:nvSpPr>
          <p:cNvPr id="27" name="Rectángulo: esquinas redondeadas 26">
            <a:extLst>
              <a:ext uri="{FF2B5EF4-FFF2-40B4-BE49-F238E27FC236}">
                <a16:creationId xmlns:a16="http://schemas.microsoft.com/office/drawing/2014/main" id="{CC7D1CDE-F28E-AF34-124F-4CD41822274F}"/>
              </a:ext>
            </a:extLst>
          </p:cNvPr>
          <p:cNvSpPr/>
          <p:nvPr/>
        </p:nvSpPr>
        <p:spPr>
          <a:xfrm>
            <a:off x="2456076" y="4797846"/>
            <a:ext cx="1072742" cy="373466"/>
          </a:xfrm>
          <a:prstGeom prst="roundRect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CUSTOM</a:t>
            </a:r>
          </a:p>
        </p:txBody>
      </p:sp>
      <p:sp>
        <p:nvSpPr>
          <p:cNvPr id="28" name="Rectángulo: esquinas redondeadas 27">
            <a:extLst>
              <a:ext uri="{FF2B5EF4-FFF2-40B4-BE49-F238E27FC236}">
                <a16:creationId xmlns:a16="http://schemas.microsoft.com/office/drawing/2014/main" id="{3C80C138-5AE5-8A4D-AB3D-7FA34FCF7F29}"/>
              </a:ext>
            </a:extLst>
          </p:cNvPr>
          <p:cNvSpPr/>
          <p:nvPr/>
        </p:nvSpPr>
        <p:spPr>
          <a:xfrm>
            <a:off x="4471235" y="2520498"/>
            <a:ext cx="1072742" cy="373466"/>
          </a:xfrm>
          <a:prstGeom prst="roundRect">
            <a:avLst/>
          </a:prstGeom>
          <a:solidFill>
            <a:srgbClr val="0111A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GPT</a:t>
            </a:r>
          </a:p>
        </p:txBody>
      </p:sp>
      <p:sp>
        <p:nvSpPr>
          <p:cNvPr id="29" name="Rectángulo: esquinas redondeadas 28">
            <a:extLst>
              <a:ext uri="{FF2B5EF4-FFF2-40B4-BE49-F238E27FC236}">
                <a16:creationId xmlns:a16="http://schemas.microsoft.com/office/drawing/2014/main" id="{3E7476E5-72BB-0EC4-243D-3194299BFC32}"/>
              </a:ext>
            </a:extLst>
          </p:cNvPr>
          <p:cNvSpPr/>
          <p:nvPr/>
        </p:nvSpPr>
        <p:spPr>
          <a:xfrm>
            <a:off x="4471235" y="2983704"/>
            <a:ext cx="1072742" cy="373466"/>
          </a:xfrm>
          <a:prstGeom prst="roundRect">
            <a:avLst/>
          </a:prstGeom>
          <a:solidFill>
            <a:srgbClr val="0111A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Claude</a:t>
            </a:r>
          </a:p>
        </p:txBody>
      </p:sp>
      <p:sp>
        <p:nvSpPr>
          <p:cNvPr id="30" name="Rectángulo: esquinas redondeadas 29">
            <a:extLst>
              <a:ext uri="{FF2B5EF4-FFF2-40B4-BE49-F238E27FC236}">
                <a16:creationId xmlns:a16="http://schemas.microsoft.com/office/drawing/2014/main" id="{53D75F71-F181-3F8B-DF5D-044EC6494923}"/>
              </a:ext>
            </a:extLst>
          </p:cNvPr>
          <p:cNvSpPr/>
          <p:nvPr/>
        </p:nvSpPr>
        <p:spPr>
          <a:xfrm>
            <a:off x="4469399" y="3432343"/>
            <a:ext cx="1072742" cy="373466"/>
          </a:xfrm>
          <a:prstGeom prst="roundRect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Gemini</a:t>
            </a:r>
          </a:p>
        </p:txBody>
      </p:sp>
      <p:sp>
        <p:nvSpPr>
          <p:cNvPr id="31" name="Rectángulo: esquinas redondeadas 30">
            <a:extLst>
              <a:ext uri="{FF2B5EF4-FFF2-40B4-BE49-F238E27FC236}">
                <a16:creationId xmlns:a16="http://schemas.microsoft.com/office/drawing/2014/main" id="{A7750C17-73EB-CF7D-AA17-38006CF131D2}"/>
              </a:ext>
            </a:extLst>
          </p:cNvPr>
          <p:cNvSpPr/>
          <p:nvPr/>
        </p:nvSpPr>
        <p:spPr>
          <a:xfrm>
            <a:off x="4469399" y="3890343"/>
            <a:ext cx="1072742" cy="373466"/>
          </a:xfrm>
          <a:prstGeom prst="roundRect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Stratis</a:t>
            </a:r>
          </a:p>
        </p:txBody>
      </p:sp>
      <p:sp>
        <p:nvSpPr>
          <p:cNvPr id="32" name="Rectángulo: esquinas redondeadas 31">
            <a:extLst>
              <a:ext uri="{FF2B5EF4-FFF2-40B4-BE49-F238E27FC236}">
                <a16:creationId xmlns:a16="http://schemas.microsoft.com/office/drawing/2014/main" id="{45F46692-A1CC-7A44-5AE1-5674209AEFD3}"/>
              </a:ext>
            </a:extLst>
          </p:cNvPr>
          <p:cNvSpPr/>
          <p:nvPr/>
        </p:nvSpPr>
        <p:spPr>
          <a:xfrm>
            <a:off x="6439002" y="2590491"/>
            <a:ext cx="1593679" cy="373466"/>
          </a:xfrm>
          <a:prstGeom prst="roundRect">
            <a:avLst/>
          </a:prstGeom>
          <a:solidFill>
            <a:srgbClr val="0111A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Documentation</a:t>
            </a:r>
          </a:p>
        </p:txBody>
      </p:sp>
      <p:sp>
        <p:nvSpPr>
          <p:cNvPr id="33" name="Rectángulo: esquinas redondeadas 32">
            <a:extLst>
              <a:ext uri="{FF2B5EF4-FFF2-40B4-BE49-F238E27FC236}">
                <a16:creationId xmlns:a16="http://schemas.microsoft.com/office/drawing/2014/main" id="{305502CF-F963-729D-6655-8C920927752D}"/>
              </a:ext>
            </a:extLst>
          </p:cNvPr>
          <p:cNvSpPr/>
          <p:nvPr/>
        </p:nvSpPr>
        <p:spPr>
          <a:xfrm>
            <a:off x="6441436" y="3046300"/>
            <a:ext cx="1593679" cy="373466"/>
          </a:xfrm>
          <a:prstGeom prst="roundRect">
            <a:avLst/>
          </a:prstGeom>
          <a:solidFill>
            <a:srgbClr val="0111A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User Stories</a:t>
            </a:r>
          </a:p>
        </p:txBody>
      </p:sp>
      <p:sp>
        <p:nvSpPr>
          <p:cNvPr id="34" name="Rectángulo: esquinas redondeadas 33">
            <a:extLst>
              <a:ext uri="{FF2B5EF4-FFF2-40B4-BE49-F238E27FC236}">
                <a16:creationId xmlns:a16="http://schemas.microsoft.com/office/drawing/2014/main" id="{AD442D95-189D-23E4-FB26-8FADFFD2ED89}"/>
              </a:ext>
            </a:extLst>
          </p:cNvPr>
          <p:cNvSpPr/>
          <p:nvPr/>
        </p:nvSpPr>
        <p:spPr>
          <a:xfrm>
            <a:off x="6435083" y="3513825"/>
            <a:ext cx="1593679" cy="373466"/>
          </a:xfrm>
          <a:prstGeom prst="roundRect">
            <a:avLst/>
          </a:prstGeom>
          <a:solidFill>
            <a:srgbClr val="0111A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est Cases</a:t>
            </a:r>
          </a:p>
        </p:txBody>
      </p:sp>
      <p:pic>
        <p:nvPicPr>
          <p:cNvPr id="37" name="Gráfico 36">
            <a:extLst>
              <a:ext uri="{FF2B5EF4-FFF2-40B4-BE49-F238E27FC236}">
                <a16:creationId xmlns:a16="http://schemas.microsoft.com/office/drawing/2014/main" id="{6E2E8395-445F-CE77-FD39-D453A36A28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06511" y="4667596"/>
            <a:ext cx="410007" cy="410007"/>
          </a:xfrm>
          <a:prstGeom prst="rect">
            <a:avLst/>
          </a:prstGeom>
        </p:spPr>
      </p:pic>
      <p:pic>
        <p:nvPicPr>
          <p:cNvPr id="38" name="Graphic 8" descr="Database outline">
            <a:extLst>
              <a:ext uri="{FF2B5EF4-FFF2-40B4-BE49-F238E27FC236}">
                <a16:creationId xmlns:a16="http://schemas.microsoft.com/office/drawing/2014/main" id="{1913F2C9-2E77-3610-F3B9-FF4B3CFF746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40446" y="4704618"/>
            <a:ext cx="341713" cy="341713"/>
          </a:xfrm>
          <a:prstGeom prst="rect">
            <a:avLst/>
          </a:prstGeom>
        </p:spPr>
      </p:pic>
      <p:sp>
        <p:nvSpPr>
          <p:cNvPr id="39" name="Rectángulo: esquinas redondeadas 38">
            <a:extLst>
              <a:ext uri="{FF2B5EF4-FFF2-40B4-BE49-F238E27FC236}">
                <a16:creationId xmlns:a16="http://schemas.microsoft.com/office/drawing/2014/main" id="{9E5DB58F-66CB-FEC1-8E9F-8282387AFF62}"/>
              </a:ext>
            </a:extLst>
          </p:cNvPr>
          <p:cNvSpPr/>
          <p:nvPr/>
        </p:nvSpPr>
        <p:spPr>
          <a:xfrm>
            <a:off x="6279036" y="5584534"/>
            <a:ext cx="1231837" cy="373466"/>
          </a:xfrm>
          <a:prstGeom prst="roundRect">
            <a:avLst/>
          </a:prstGeom>
          <a:solidFill>
            <a:srgbClr val="0111A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err="1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XRay</a:t>
            </a:r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(1B)</a:t>
            </a:r>
          </a:p>
        </p:txBody>
      </p:sp>
      <p:sp>
        <p:nvSpPr>
          <p:cNvPr id="40" name="Rectángulo: esquinas redondeadas 39">
            <a:extLst>
              <a:ext uri="{FF2B5EF4-FFF2-40B4-BE49-F238E27FC236}">
                <a16:creationId xmlns:a16="http://schemas.microsoft.com/office/drawing/2014/main" id="{61BD28CC-C092-5FFF-1D82-23C54D5F9AF4}"/>
              </a:ext>
            </a:extLst>
          </p:cNvPr>
          <p:cNvSpPr/>
          <p:nvPr/>
        </p:nvSpPr>
        <p:spPr>
          <a:xfrm>
            <a:off x="6274813" y="6065618"/>
            <a:ext cx="1240284" cy="373466"/>
          </a:xfrm>
          <a:prstGeom prst="roundRect">
            <a:avLst/>
          </a:prstGeom>
          <a:solidFill>
            <a:srgbClr val="0111A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JIRA</a:t>
            </a:r>
          </a:p>
        </p:txBody>
      </p:sp>
      <p:sp>
        <p:nvSpPr>
          <p:cNvPr id="44" name="Rectangle 24">
            <a:extLst>
              <a:ext uri="{FF2B5EF4-FFF2-40B4-BE49-F238E27FC236}">
                <a16:creationId xmlns:a16="http://schemas.microsoft.com/office/drawing/2014/main" id="{0AA3DD3D-1380-AA17-0381-396718BB8A99}"/>
              </a:ext>
            </a:extLst>
          </p:cNvPr>
          <p:cNvSpPr/>
          <p:nvPr/>
        </p:nvSpPr>
        <p:spPr>
          <a:xfrm>
            <a:off x="7233092" y="4592956"/>
            <a:ext cx="1505776" cy="588492"/>
          </a:xfrm>
          <a:prstGeom prst="roundRect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Client Automation Framework</a:t>
            </a:r>
          </a:p>
        </p:txBody>
      </p:sp>
      <p:sp>
        <p:nvSpPr>
          <p:cNvPr id="48" name="Rectángulo: esquinas redondeadas 47">
            <a:extLst>
              <a:ext uri="{FF2B5EF4-FFF2-40B4-BE49-F238E27FC236}">
                <a16:creationId xmlns:a16="http://schemas.microsoft.com/office/drawing/2014/main" id="{550A730F-2526-A55E-4AB7-C700DE88A136}"/>
              </a:ext>
            </a:extLst>
          </p:cNvPr>
          <p:cNvSpPr/>
          <p:nvPr/>
        </p:nvSpPr>
        <p:spPr>
          <a:xfrm>
            <a:off x="9401076" y="785477"/>
            <a:ext cx="1593679" cy="37346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C113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est Cases UAT</a:t>
            </a:r>
          </a:p>
        </p:txBody>
      </p:sp>
      <p:sp>
        <p:nvSpPr>
          <p:cNvPr id="51" name="Rectángulo: esquinas redondeadas 50">
            <a:extLst>
              <a:ext uri="{FF2B5EF4-FFF2-40B4-BE49-F238E27FC236}">
                <a16:creationId xmlns:a16="http://schemas.microsoft.com/office/drawing/2014/main" id="{A2D957D1-DF1F-A6C5-C64D-AD3E8A0FA722}"/>
              </a:ext>
            </a:extLst>
          </p:cNvPr>
          <p:cNvSpPr/>
          <p:nvPr/>
        </p:nvSpPr>
        <p:spPr>
          <a:xfrm>
            <a:off x="9308107" y="2746950"/>
            <a:ext cx="1072742" cy="373466"/>
          </a:xfrm>
          <a:prstGeom prst="roundRect">
            <a:avLst/>
          </a:prstGeom>
          <a:solidFill>
            <a:srgbClr val="0111A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Web-Based</a:t>
            </a:r>
          </a:p>
        </p:txBody>
      </p:sp>
      <p:sp>
        <p:nvSpPr>
          <p:cNvPr id="52" name="Rectángulo: esquinas redondeadas 51">
            <a:extLst>
              <a:ext uri="{FF2B5EF4-FFF2-40B4-BE49-F238E27FC236}">
                <a16:creationId xmlns:a16="http://schemas.microsoft.com/office/drawing/2014/main" id="{867B95A2-6159-4AE1-F902-EC8E1D435860}"/>
              </a:ext>
            </a:extLst>
          </p:cNvPr>
          <p:cNvSpPr/>
          <p:nvPr/>
        </p:nvSpPr>
        <p:spPr>
          <a:xfrm>
            <a:off x="9305255" y="3216461"/>
            <a:ext cx="1072742" cy="373466"/>
          </a:xfrm>
          <a:prstGeom prst="roundRect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Mobile</a:t>
            </a:r>
          </a:p>
        </p:txBody>
      </p:sp>
      <p:sp>
        <p:nvSpPr>
          <p:cNvPr id="53" name="Rectángulo: esquinas redondeadas 52">
            <a:extLst>
              <a:ext uri="{FF2B5EF4-FFF2-40B4-BE49-F238E27FC236}">
                <a16:creationId xmlns:a16="http://schemas.microsoft.com/office/drawing/2014/main" id="{31334F61-7443-88A8-EEE3-C4C2E20C6C60}"/>
              </a:ext>
            </a:extLst>
          </p:cNvPr>
          <p:cNvSpPr/>
          <p:nvPr/>
        </p:nvSpPr>
        <p:spPr>
          <a:xfrm>
            <a:off x="10511439" y="2756891"/>
            <a:ext cx="1072742" cy="373466"/>
          </a:xfrm>
          <a:prstGeom prst="roundRect">
            <a:avLst/>
          </a:prstGeom>
          <a:solidFill>
            <a:srgbClr val="0111A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Desktop (1A)</a:t>
            </a:r>
          </a:p>
        </p:txBody>
      </p:sp>
      <p:sp>
        <p:nvSpPr>
          <p:cNvPr id="54" name="Rectángulo: esquinas redondeadas 53">
            <a:extLst>
              <a:ext uri="{FF2B5EF4-FFF2-40B4-BE49-F238E27FC236}">
                <a16:creationId xmlns:a16="http://schemas.microsoft.com/office/drawing/2014/main" id="{E983692B-767B-A8E5-ACD3-287BE8E75D8B}"/>
              </a:ext>
            </a:extLst>
          </p:cNvPr>
          <p:cNvSpPr/>
          <p:nvPr/>
        </p:nvSpPr>
        <p:spPr>
          <a:xfrm>
            <a:off x="10511439" y="3222682"/>
            <a:ext cx="1072742" cy="373466"/>
          </a:xfrm>
          <a:prstGeom prst="roundRect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API</a:t>
            </a:r>
          </a:p>
        </p:txBody>
      </p:sp>
      <p:sp>
        <p:nvSpPr>
          <p:cNvPr id="56" name="Rectangle 5">
            <a:extLst>
              <a:ext uri="{FF2B5EF4-FFF2-40B4-BE49-F238E27FC236}">
                <a16:creationId xmlns:a16="http://schemas.microsoft.com/office/drawing/2014/main" id="{FBDA0631-86B1-DB9F-D18B-477A29E55C6F}"/>
              </a:ext>
            </a:extLst>
          </p:cNvPr>
          <p:cNvSpPr/>
          <p:nvPr/>
        </p:nvSpPr>
        <p:spPr>
          <a:xfrm>
            <a:off x="9644518" y="4248058"/>
            <a:ext cx="1733841" cy="907209"/>
          </a:xfrm>
          <a:prstGeom prst="roundRect">
            <a:avLst/>
          </a:prstGeom>
          <a:solidFill>
            <a:srgbClr val="0111A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AI-Driven Automation Framework Development</a:t>
            </a:r>
          </a:p>
        </p:txBody>
      </p:sp>
      <p:sp>
        <p:nvSpPr>
          <p:cNvPr id="57" name="Rectángulo: esquinas redondeadas 56">
            <a:extLst>
              <a:ext uri="{FF2B5EF4-FFF2-40B4-BE49-F238E27FC236}">
                <a16:creationId xmlns:a16="http://schemas.microsoft.com/office/drawing/2014/main" id="{0BCC263E-5CD0-EE31-FFF4-AE34C6AF2F20}"/>
              </a:ext>
            </a:extLst>
          </p:cNvPr>
          <p:cNvSpPr/>
          <p:nvPr/>
        </p:nvSpPr>
        <p:spPr>
          <a:xfrm>
            <a:off x="9636504" y="5201110"/>
            <a:ext cx="1733841" cy="373466"/>
          </a:xfrm>
          <a:prstGeom prst="roundRect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Performance</a:t>
            </a:r>
          </a:p>
        </p:txBody>
      </p:sp>
      <p:sp>
        <p:nvSpPr>
          <p:cNvPr id="58" name="Rectángulo: esquinas redondeadas 57">
            <a:extLst>
              <a:ext uri="{FF2B5EF4-FFF2-40B4-BE49-F238E27FC236}">
                <a16:creationId xmlns:a16="http://schemas.microsoft.com/office/drawing/2014/main" id="{4BB8F02F-684E-F9D0-E931-81B98F614D44}"/>
              </a:ext>
            </a:extLst>
          </p:cNvPr>
          <p:cNvSpPr/>
          <p:nvPr/>
        </p:nvSpPr>
        <p:spPr>
          <a:xfrm>
            <a:off x="9644518" y="5617551"/>
            <a:ext cx="1733841" cy="373466"/>
          </a:xfrm>
          <a:prstGeom prst="roundRect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Security</a:t>
            </a:r>
          </a:p>
        </p:txBody>
      </p:sp>
      <p:sp>
        <p:nvSpPr>
          <p:cNvPr id="59" name="Rectángulo: esquinas redondeadas 58">
            <a:extLst>
              <a:ext uri="{FF2B5EF4-FFF2-40B4-BE49-F238E27FC236}">
                <a16:creationId xmlns:a16="http://schemas.microsoft.com/office/drawing/2014/main" id="{1BDCED05-47BC-CC9F-76C4-B2BE1302217E}"/>
              </a:ext>
            </a:extLst>
          </p:cNvPr>
          <p:cNvSpPr/>
          <p:nvPr/>
        </p:nvSpPr>
        <p:spPr>
          <a:xfrm>
            <a:off x="9644518" y="6048289"/>
            <a:ext cx="1733841" cy="373466"/>
          </a:xfrm>
          <a:prstGeom prst="roundRect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Accessibility</a:t>
            </a:r>
          </a:p>
        </p:txBody>
      </p:sp>
      <p:pic>
        <p:nvPicPr>
          <p:cNvPr id="5" name="Imagen 4" descr="Forma&#10;&#10;El contenido generado por IA puede ser incorrecto.">
            <a:extLst>
              <a:ext uri="{FF2B5EF4-FFF2-40B4-BE49-F238E27FC236}">
                <a16:creationId xmlns:a16="http://schemas.microsoft.com/office/drawing/2014/main" id="{FCDE1784-113E-2857-D62D-CE9DE732AAF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9330" y="2257702"/>
            <a:ext cx="817861" cy="2897565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48EEDF2E-6807-4E16-5CED-2DC7FD9365D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8961" y="3461611"/>
            <a:ext cx="676996" cy="298933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F38031E7-D757-4197-9256-0A7736EDA86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136" y="3258857"/>
            <a:ext cx="423924" cy="63138"/>
          </a:xfrm>
          <a:prstGeom prst="rect">
            <a:avLst/>
          </a:prstGeom>
        </p:spPr>
      </p:pic>
      <p:pic>
        <p:nvPicPr>
          <p:cNvPr id="45" name="Imagen 44">
            <a:extLst>
              <a:ext uri="{FF2B5EF4-FFF2-40B4-BE49-F238E27FC236}">
                <a16:creationId xmlns:a16="http://schemas.microsoft.com/office/drawing/2014/main" id="{E1A5E938-5A50-B8D3-ED4F-EF5AE95562F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8393" y="4089998"/>
            <a:ext cx="45719" cy="1028684"/>
          </a:xfrm>
          <a:prstGeom prst="rect">
            <a:avLst/>
          </a:prstGeom>
        </p:spPr>
      </p:pic>
      <p:pic>
        <p:nvPicPr>
          <p:cNvPr id="46" name="Imagen 45">
            <a:extLst>
              <a:ext uri="{FF2B5EF4-FFF2-40B4-BE49-F238E27FC236}">
                <a16:creationId xmlns:a16="http://schemas.microsoft.com/office/drawing/2014/main" id="{B8D97BC4-7C9B-1670-EB0E-812055B20C5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1556" y="4855633"/>
            <a:ext cx="423924" cy="63138"/>
          </a:xfrm>
          <a:prstGeom prst="rect">
            <a:avLst/>
          </a:prstGeom>
        </p:spPr>
      </p:pic>
      <p:grpSp>
        <p:nvGrpSpPr>
          <p:cNvPr id="47" name="Grupo 46">
            <a:extLst>
              <a:ext uri="{FF2B5EF4-FFF2-40B4-BE49-F238E27FC236}">
                <a16:creationId xmlns:a16="http://schemas.microsoft.com/office/drawing/2014/main" id="{F4EA9970-820B-88D6-84F6-CC7DFB393102}"/>
              </a:ext>
            </a:extLst>
          </p:cNvPr>
          <p:cNvGrpSpPr/>
          <p:nvPr/>
        </p:nvGrpSpPr>
        <p:grpSpPr>
          <a:xfrm>
            <a:off x="6525067" y="458233"/>
            <a:ext cx="985806" cy="985806"/>
            <a:chOff x="6599418" y="441017"/>
            <a:chExt cx="1083412" cy="1083412"/>
          </a:xfrm>
        </p:grpSpPr>
        <p:pic>
          <p:nvPicPr>
            <p:cNvPr id="49" name="Gráfico 48">
              <a:extLst>
                <a:ext uri="{FF2B5EF4-FFF2-40B4-BE49-F238E27FC236}">
                  <a16:creationId xmlns:a16="http://schemas.microsoft.com/office/drawing/2014/main" id="{C488870C-A9E5-FFCA-5DE6-1E9F2659B0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599418" y="441017"/>
              <a:ext cx="1083412" cy="1083412"/>
            </a:xfrm>
            <a:prstGeom prst="rect">
              <a:avLst/>
            </a:prstGeom>
          </p:spPr>
        </p:pic>
        <p:pic>
          <p:nvPicPr>
            <p:cNvPr id="16" name="Graphic 15" descr="Target Audience with solid fill">
              <a:extLst>
                <a:ext uri="{FF2B5EF4-FFF2-40B4-BE49-F238E27FC236}">
                  <a16:creationId xmlns:a16="http://schemas.microsoft.com/office/drawing/2014/main" id="{BC09244F-217D-C035-B59B-82CB680CDE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683924" y="525523"/>
              <a:ext cx="914400" cy="914400"/>
            </a:xfrm>
            <a:prstGeom prst="rect">
              <a:avLst/>
            </a:prstGeom>
          </p:spPr>
        </p:pic>
      </p:grp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1B004263-5A8B-C995-734A-23C1AB8FD9B7}"/>
              </a:ext>
            </a:extLst>
          </p:cNvPr>
          <p:cNvSpPr txBox="1">
            <a:spLocks/>
          </p:cNvSpPr>
          <p:nvPr/>
        </p:nvSpPr>
        <p:spPr>
          <a:xfrm>
            <a:off x="525657" y="381639"/>
            <a:ext cx="5494143" cy="396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rgbClr val="F86F35"/>
                </a:solidFill>
                <a:latin typeface="Open Sans ExtraBold"/>
                <a:ea typeface="Open Sans ExtraBold"/>
                <a:cs typeface="Open Sans ExtraBold"/>
              </a:rPr>
              <a:t>STRATIS AI FRAMEWORK</a:t>
            </a:r>
            <a:endParaRPr lang="en-US" sz="2000" dirty="0">
              <a:solidFill>
                <a:srgbClr val="F86F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4089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395851" y="601027"/>
            <a:ext cx="2113280" cy="33464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pc="-70" dirty="0"/>
              <a:t>WE</a:t>
            </a:r>
            <a:r>
              <a:rPr spc="-315" dirty="0"/>
              <a:t> </a:t>
            </a:r>
            <a:r>
              <a:rPr spc="-175" dirty="0"/>
              <a:t>ARE</a:t>
            </a:r>
            <a:r>
              <a:rPr spc="-350" dirty="0"/>
              <a:t> </a:t>
            </a:r>
            <a:r>
              <a:rPr spc="-175" dirty="0"/>
              <a:t>STRATIS</a:t>
            </a:r>
          </a:p>
        </p:txBody>
      </p:sp>
      <p:sp>
        <p:nvSpPr>
          <p:cNvPr id="4" name="object 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12065" rIns="0" bIns="0" rtlCol="0" anchor="t">
            <a:spAutoFit/>
          </a:bodyPr>
          <a:lstStyle/>
          <a:p>
            <a:pPr marL="12700" marR="5080" algn="just">
              <a:lnSpc>
                <a:spcPct val="125200"/>
              </a:lnSpc>
              <a:spcBef>
                <a:spcPts val="95"/>
              </a:spcBef>
            </a:pPr>
            <a:r>
              <a:rPr spc="-55" dirty="0"/>
              <a:t>Stratis</a:t>
            </a:r>
            <a:r>
              <a:rPr spc="-50" dirty="0"/>
              <a:t> </a:t>
            </a:r>
            <a:r>
              <a:rPr spc="-85" dirty="0"/>
              <a:t>is</a:t>
            </a:r>
            <a:r>
              <a:rPr spc="-20" dirty="0"/>
              <a:t> </a:t>
            </a:r>
            <a:r>
              <a:rPr spc="-75" dirty="0"/>
              <a:t>based</a:t>
            </a:r>
            <a:r>
              <a:rPr spc="-25" dirty="0"/>
              <a:t> </a:t>
            </a:r>
            <a:r>
              <a:rPr dirty="0"/>
              <a:t>in</a:t>
            </a:r>
            <a:r>
              <a:rPr spc="-45" dirty="0"/>
              <a:t> </a:t>
            </a:r>
            <a:r>
              <a:rPr dirty="0"/>
              <a:t>the</a:t>
            </a:r>
            <a:r>
              <a:rPr spc="30" dirty="0"/>
              <a:t> </a:t>
            </a:r>
            <a:r>
              <a:rPr spc="-85" dirty="0"/>
              <a:t>Americas,</a:t>
            </a:r>
            <a:r>
              <a:rPr spc="-5" dirty="0"/>
              <a:t> </a:t>
            </a:r>
            <a:r>
              <a:rPr dirty="0"/>
              <a:t>with</a:t>
            </a:r>
            <a:r>
              <a:rPr spc="-10" dirty="0"/>
              <a:t> </a:t>
            </a:r>
            <a:r>
              <a:rPr spc="-85" dirty="0"/>
              <a:t>offices</a:t>
            </a:r>
            <a:r>
              <a:rPr spc="-15" dirty="0"/>
              <a:t> </a:t>
            </a:r>
            <a:r>
              <a:rPr dirty="0"/>
              <a:t>in</a:t>
            </a:r>
            <a:r>
              <a:rPr spc="25" dirty="0"/>
              <a:t> </a:t>
            </a:r>
            <a:r>
              <a:rPr spc="-95" dirty="0"/>
              <a:t>Chicago,</a:t>
            </a:r>
            <a:r>
              <a:rPr spc="-10" dirty="0"/>
              <a:t> </a:t>
            </a:r>
            <a:r>
              <a:rPr dirty="0"/>
              <a:t>Miami,</a:t>
            </a:r>
            <a:r>
              <a:rPr spc="20" dirty="0"/>
              <a:t> </a:t>
            </a:r>
            <a:r>
              <a:rPr spc="-80" dirty="0"/>
              <a:t>Mexico</a:t>
            </a:r>
            <a:r>
              <a:rPr spc="-25" dirty="0"/>
              <a:t> </a:t>
            </a:r>
            <a:r>
              <a:rPr spc="-70" dirty="0"/>
              <a:t>City,</a:t>
            </a:r>
            <a:r>
              <a:rPr spc="5" dirty="0"/>
              <a:t> </a:t>
            </a:r>
            <a:r>
              <a:rPr spc="-10" dirty="0"/>
              <a:t>Santiago </a:t>
            </a:r>
            <a:r>
              <a:rPr spc="-50" dirty="0"/>
              <a:t>de</a:t>
            </a:r>
            <a:r>
              <a:rPr spc="-90" dirty="0"/>
              <a:t> </a:t>
            </a:r>
            <a:r>
              <a:rPr spc="-55" dirty="0"/>
              <a:t>Chile,</a:t>
            </a:r>
            <a:r>
              <a:rPr spc="-140" dirty="0"/>
              <a:t> </a:t>
            </a:r>
            <a:r>
              <a:rPr spc="-10" dirty="0"/>
              <a:t>and</a:t>
            </a:r>
            <a:r>
              <a:rPr spc="-114" dirty="0"/>
              <a:t> </a:t>
            </a:r>
            <a:r>
              <a:rPr spc="-90" dirty="0"/>
              <a:t>São</a:t>
            </a:r>
            <a:r>
              <a:rPr spc="-135" dirty="0"/>
              <a:t> </a:t>
            </a:r>
            <a:r>
              <a:rPr spc="-10" dirty="0"/>
              <a:t>Paulo</a:t>
            </a:r>
            <a:r>
              <a:rPr spc="-10" dirty="0">
                <a:latin typeface="Arial"/>
                <a:cs typeface="Arial"/>
              </a:rPr>
              <a:t>.</a:t>
            </a:r>
          </a:p>
          <a:p>
            <a:pPr marL="12700" marR="8255" algn="l">
              <a:lnSpc>
                <a:spcPct val="120000"/>
              </a:lnSpc>
              <a:spcBef>
                <a:spcPts val="1040"/>
              </a:spcBef>
            </a:pP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Stratis</a:t>
            </a:r>
            <a:r>
              <a:rPr sz="1200" spc="17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is</a:t>
            </a:r>
            <a:r>
              <a:rPr sz="1200" spc="13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a</a:t>
            </a:r>
            <a:r>
              <a:rPr sz="1200" spc="15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spc="-65" dirty="0">
                <a:solidFill>
                  <a:srgbClr val="0C1137"/>
                </a:solidFill>
              </a:rPr>
              <a:t>specialized</a:t>
            </a:r>
            <a:r>
              <a:rPr sz="1200" spc="10" dirty="0">
                <a:solidFill>
                  <a:srgbClr val="0C1137"/>
                </a:solidFill>
              </a:rPr>
              <a:t> </a:t>
            </a:r>
            <a:r>
              <a:rPr sz="1200" spc="-10" dirty="0">
                <a:solidFill>
                  <a:srgbClr val="0C1137"/>
                </a:solidFill>
              </a:rPr>
              <a:t>provider</a:t>
            </a:r>
            <a:r>
              <a:rPr sz="1200" spc="40" dirty="0">
                <a:solidFill>
                  <a:srgbClr val="0C1137"/>
                </a:solidFill>
              </a:rPr>
              <a:t> </a:t>
            </a:r>
            <a:r>
              <a:rPr sz="1200" dirty="0">
                <a:solidFill>
                  <a:srgbClr val="0C1137"/>
                </a:solidFill>
              </a:rPr>
              <a:t>of</a:t>
            </a:r>
            <a:r>
              <a:rPr sz="1200" spc="65" dirty="0">
                <a:solidFill>
                  <a:srgbClr val="0C1137"/>
                </a:solidFill>
              </a:rPr>
              <a:t> </a:t>
            </a:r>
            <a:r>
              <a:rPr sz="1200" spc="-45" dirty="0">
                <a:solidFill>
                  <a:srgbClr val="0C1137"/>
                </a:solidFill>
              </a:rPr>
              <a:t>technology</a:t>
            </a:r>
            <a:r>
              <a:rPr sz="1200" spc="20" dirty="0">
                <a:solidFill>
                  <a:srgbClr val="0C1137"/>
                </a:solidFill>
              </a:rPr>
              <a:t> </a:t>
            </a:r>
            <a:r>
              <a:rPr sz="1200" spc="-80" dirty="0">
                <a:solidFill>
                  <a:srgbClr val="0C1137"/>
                </a:solidFill>
              </a:rPr>
              <a:t>services</a:t>
            </a:r>
            <a:r>
              <a:rPr sz="1200" spc="35" dirty="0">
                <a:solidFill>
                  <a:srgbClr val="0C1137"/>
                </a:solidFill>
              </a:rPr>
              <a:t> </a:t>
            </a:r>
            <a:r>
              <a:rPr lang="en-US" sz="1200" dirty="0">
                <a:solidFill>
                  <a:srgbClr val="0C1137"/>
                </a:solidFill>
              </a:rPr>
              <a:t> 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known</a:t>
            </a:r>
            <a:r>
              <a:rPr sz="1200" spc="19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for</a:t>
            </a:r>
            <a:r>
              <a:rPr sz="1200" spc="23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spc="-25" dirty="0">
                <a:solidFill>
                  <a:srgbClr val="0C1137"/>
                </a:solidFill>
                <a:latin typeface="Arial"/>
                <a:cs typeface="Arial"/>
              </a:rPr>
              <a:t>its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agility</a:t>
            </a:r>
            <a:r>
              <a:rPr sz="1200" spc="80" dirty="0">
                <a:solidFill>
                  <a:srgbClr val="0C1137"/>
                </a:solidFill>
                <a:latin typeface="Arial"/>
                <a:cs typeface="Arial"/>
              </a:rPr>
              <a:t> 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and</a:t>
            </a:r>
            <a:r>
              <a:rPr sz="1200" spc="90" dirty="0">
                <a:solidFill>
                  <a:srgbClr val="0C1137"/>
                </a:solidFill>
                <a:latin typeface="Arial"/>
                <a:cs typeface="Arial"/>
              </a:rPr>
              <a:t>  </a:t>
            </a:r>
            <a:r>
              <a:rPr sz="1200" spc="-10" dirty="0">
                <a:solidFill>
                  <a:srgbClr val="0C1137"/>
                </a:solidFill>
                <a:latin typeface="Arial"/>
                <a:cs typeface="Arial"/>
              </a:rPr>
              <a:t>client-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centric</a:t>
            </a:r>
            <a:r>
              <a:rPr sz="1200" spc="225" dirty="0">
                <a:solidFill>
                  <a:srgbClr val="0C1137"/>
                </a:solidFill>
                <a:latin typeface="Arial"/>
                <a:cs typeface="Arial"/>
              </a:rPr>
              <a:t> 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approach.</a:t>
            </a:r>
            <a:r>
              <a:rPr sz="1200" spc="220" dirty="0">
                <a:solidFill>
                  <a:srgbClr val="0C1137"/>
                </a:solidFill>
                <a:latin typeface="Arial"/>
                <a:cs typeface="Arial"/>
              </a:rPr>
              <a:t> 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Through</a:t>
            </a:r>
            <a:r>
              <a:rPr sz="1200" spc="85" dirty="0">
                <a:solidFill>
                  <a:srgbClr val="0C1137"/>
                </a:solidFill>
                <a:latin typeface="Arial"/>
                <a:cs typeface="Arial"/>
              </a:rPr>
              <a:t> 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continuous</a:t>
            </a:r>
            <a:r>
              <a:rPr sz="1200" spc="254" dirty="0">
                <a:solidFill>
                  <a:srgbClr val="0C1137"/>
                </a:solidFill>
                <a:latin typeface="Arial"/>
                <a:cs typeface="Arial"/>
              </a:rPr>
              <a:t> 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investment</a:t>
            </a:r>
            <a:r>
              <a:rPr sz="1200" spc="100" dirty="0">
                <a:solidFill>
                  <a:srgbClr val="0C1137"/>
                </a:solidFill>
                <a:latin typeface="Arial"/>
                <a:cs typeface="Arial"/>
              </a:rPr>
              <a:t> 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in</a:t>
            </a:r>
            <a:r>
              <a:rPr sz="1200" spc="140" dirty="0">
                <a:solidFill>
                  <a:srgbClr val="0C1137"/>
                </a:solidFill>
                <a:latin typeface="Arial"/>
                <a:cs typeface="Arial"/>
              </a:rPr>
              <a:t> 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innovation</a:t>
            </a:r>
            <a:r>
              <a:rPr sz="1200" spc="140" dirty="0">
                <a:solidFill>
                  <a:srgbClr val="0C1137"/>
                </a:solidFill>
                <a:latin typeface="Arial"/>
                <a:cs typeface="Arial"/>
              </a:rPr>
              <a:t> 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and</a:t>
            </a:r>
            <a:r>
              <a:rPr sz="1200" spc="130" dirty="0">
                <a:solidFill>
                  <a:srgbClr val="0C1137"/>
                </a:solidFill>
                <a:latin typeface="Arial"/>
                <a:cs typeface="Arial"/>
              </a:rPr>
              <a:t>  </a:t>
            </a:r>
            <a:r>
              <a:rPr sz="1200" spc="-10" dirty="0">
                <a:solidFill>
                  <a:srgbClr val="0C1137"/>
                </a:solidFill>
                <a:latin typeface="Arial"/>
                <a:cs typeface="Arial"/>
              </a:rPr>
              <a:t>people,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Stratis</a:t>
            </a:r>
            <a:r>
              <a:rPr sz="1200" spc="7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spc="-10" dirty="0">
                <a:solidFill>
                  <a:srgbClr val="0C1137"/>
                </a:solidFill>
              </a:rPr>
              <a:t>delivers</a:t>
            </a:r>
            <a:r>
              <a:rPr sz="1200" spc="-25" dirty="0">
                <a:solidFill>
                  <a:srgbClr val="0C1137"/>
                </a:solidFill>
              </a:rPr>
              <a:t> </a:t>
            </a:r>
            <a:r>
              <a:rPr sz="1200" spc="-30" dirty="0">
                <a:solidFill>
                  <a:srgbClr val="0C1137"/>
                </a:solidFill>
              </a:rPr>
              <a:t>business</a:t>
            </a:r>
            <a:r>
              <a:rPr sz="1200" dirty="0">
                <a:solidFill>
                  <a:srgbClr val="0C1137"/>
                </a:solidFill>
              </a:rPr>
              <a:t> </a:t>
            </a:r>
            <a:r>
              <a:rPr sz="1200" spc="-30" dirty="0">
                <a:solidFill>
                  <a:srgbClr val="0C1137"/>
                </a:solidFill>
              </a:rPr>
              <a:t>consulting,</a:t>
            </a:r>
            <a:r>
              <a:rPr sz="1200" spc="-25" dirty="0">
                <a:solidFill>
                  <a:srgbClr val="0C1137"/>
                </a:solidFill>
              </a:rPr>
              <a:t> </a:t>
            </a:r>
            <a:r>
              <a:rPr sz="1200" dirty="0">
                <a:solidFill>
                  <a:srgbClr val="0C1137"/>
                </a:solidFill>
              </a:rPr>
              <a:t>drives</a:t>
            </a:r>
            <a:r>
              <a:rPr sz="1200" spc="-10" dirty="0">
                <a:solidFill>
                  <a:srgbClr val="0C1137"/>
                </a:solidFill>
              </a:rPr>
              <a:t> </a:t>
            </a:r>
            <a:r>
              <a:rPr sz="1200" dirty="0">
                <a:solidFill>
                  <a:srgbClr val="0C1137"/>
                </a:solidFill>
              </a:rPr>
              <a:t>digital</a:t>
            </a:r>
            <a:r>
              <a:rPr sz="1200" spc="-5" dirty="0">
                <a:solidFill>
                  <a:srgbClr val="0C1137"/>
                </a:solidFill>
              </a:rPr>
              <a:t> </a:t>
            </a:r>
            <a:r>
              <a:rPr sz="1200" spc="-10" dirty="0">
                <a:solidFill>
                  <a:srgbClr val="0C1137"/>
                </a:solidFill>
              </a:rPr>
              <a:t>evolution,</a:t>
            </a:r>
            <a:r>
              <a:rPr sz="1200" spc="-35" dirty="0">
                <a:solidFill>
                  <a:srgbClr val="0C1137"/>
                </a:solidFill>
              </a:rPr>
              <a:t> </a:t>
            </a:r>
            <a:r>
              <a:rPr sz="1200" dirty="0">
                <a:solidFill>
                  <a:srgbClr val="0C1137"/>
                </a:solidFill>
              </a:rPr>
              <a:t>and</a:t>
            </a:r>
            <a:r>
              <a:rPr sz="1200" spc="25" dirty="0">
                <a:solidFill>
                  <a:srgbClr val="0C1137"/>
                </a:solidFill>
              </a:rPr>
              <a:t> </a:t>
            </a:r>
            <a:r>
              <a:rPr sz="1200" spc="-10" dirty="0">
                <a:solidFill>
                  <a:srgbClr val="0C1137"/>
                </a:solidFill>
              </a:rPr>
              <a:t>ensures</a:t>
            </a:r>
            <a:r>
              <a:rPr sz="1200" spc="-35" dirty="0">
                <a:solidFill>
                  <a:srgbClr val="0C1137"/>
                </a:solidFill>
              </a:rPr>
              <a:t> </a:t>
            </a:r>
            <a:r>
              <a:rPr sz="1200" dirty="0">
                <a:solidFill>
                  <a:srgbClr val="0C1137"/>
                </a:solidFill>
              </a:rPr>
              <a:t>the</a:t>
            </a:r>
            <a:r>
              <a:rPr sz="1200" spc="-5" dirty="0">
                <a:solidFill>
                  <a:srgbClr val="0C1137"/>
                </a:solidFill>
              </a:rPr>
              <a:t> </a:t>
            </a:r>
            <a:r>
              <a:rPr sz="1200" spc="-10" dirty="0">
                <a:solidFill>
                  <a:srgbClr val="0C1137"/>
                </a:solidFill>
              </a:rPr>
              <a:t>seamless </a:t>
            </a:r>
            <a:r>
              <a:rPr sz="1200" spc="-90" dirty="0">
                <a:solidFill>
                  <a:srgbClr val="0C1137"/>
                </a:solidFill>
              </a:rPr>
              <a:t>execution</a:t>
            </a:r>
            <a:r>
              <a:rPr sz="1200" spc="-75" dirty="0">
                <a:solidFill>
                  <a:srgbClr val="0C1137"/>
                </a:solidFill>
              </a:rPr>
              <a:t> </a:t>
            </a:r>
            <a:r>
              <a:rPr sz="1200" spc="-30" dirty="0">
                <a:solidFill>
                  <a:srgbClr val="0C1137"/>
                </a:solidFill>
              </a:rPr>
              <a:t>of</a:t>
            </a:r>
            <a:r>
              <a:rPr sz="1200" spc="-45" dirty="0">
                <a:solidFill>
                  <a:srgbClr val="0C1137"/>
                </a:solidFill>
              </a:rPr>
              <a:t> </a:t>
            </a:r>
            <a:r>
              <a:rPr sz="1200" spc="-80" dirty="0">
                <a:solidFill>
                  <a:srgbClr val="0C1137"/>
                </a:solidFill>
              </a:rPr>
              <a:t>technology</a:t>
            </a:r>
            <a:r>
              <a:rPr sz="1200" spc="-120" dirty="0">
                <a:solidFill>
                  <a:srgbClr val="0C1137"/>
                </a:solidFill>
              </a:rPr>
              <a:t> </a:t>
            </a:r>
            <a:r>
              <a:rPr sz="1200" spc="-85" dirty="0">
                <a:solidFill>
                  <a:srgbClr val="0C1137"/>
                </a:solidFill>
              </a:rPr>
              <a:t>projects</a:t>
            </a:r>
            <a:r>
              <a:rPr sz="1200" spc="-25" dirty="0">
                <a:solidFill>
                  <a:srgbClr val="0C1137"/>
                </a:solidFill>
              </a:rPr>
              <a:t> </a:t>
            </a:r>
            <a:r>
              <a:rPr sz="1200" spc="-40" dirty="0">
                <a:solidFill>
                  <a:srgbClr val="0C1137"/>
                </a:solidFill>
              </a:rPr>
              <a:t>that</a:t>
            </a:r>
            <a:r>
              <a:rPr sz="1200" spc="-50" dirty="0">
                <a:solidFill>
                  <a:srgbClr val="0C1137"/>
                </a:solidFill>
              </a:rPr>
              <a:t> </a:t>
            </a:r>
            <a:r>
              <a:rPr sz="1200" spc="-90" dirty="0">
                <a:solidFill>
                  <a:srgbClr val="0C1137"/>
                </a:solidFill>
              </a:rPr>
              <a:t>create</a:t>
            </a:r>
            <a:r>
              <a:rPr sz="1200" spc="-65" dirty="0">
                <a:solidFill>
                  <a:srgbClr val="0C1137"/>
                </a:solidFill>
              </a:rPr>
              <a:t> </a:t>
            </a:r>
            <a:r>
              <a:rPr sz="1200" spc="-75" dirty="0">
                <a:solidFill>
                  <a:srgbClr val="0C1137"/>
                </a:solidFill>
              </a:rPr>
              <a:t>lasting</a:t>
            </a:r>
            <a:r>
              <a:rPr sz="1200" spc="-95" dirty="0">
                <a:solidFill>
                  <a:srgbClr val="0C1137"/>
                </a:solidFill>
              </a:rPr>
              <a:t> business</a:t>
            </a:r>
            <a:r>
              <a:rPr sz="1200" spc="-55" dirty="0">
                <a:solidFill>
                  <a:srgbClr val="0C1137"/>
                </a:solidFill>
              </a:rPr>
              <a:t> </a:t>
            </a:r>
            <a:r>
              <a:rPr sz="1200" spc="-10" dirty="0">
                <a:solidFill>
                  <a:srgbClr val="0C1137"/>
                </a:solidFill>
              </a:rPr>
              <a:t>value.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740515" y="6435725"/>
            <a:ext cx="1143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0" dirty="0">
                <a:solidFill>
                  <a:srgbClr val="FF8367"/>
                </a:solidFill>
                <a:latin typeface="Microsoft JhengHei"/>
                <a:cs typeface="Microsoft JhengHei"/>
              </a:rPr>
              <a:t>2</a:t>
            </a:r>
            <a:endParaRPr sz="1200">
              <a:latin typeface="Microsoft JhengHei"/>
              <a:cs typeface="Microsoft JhengHei"/>
            </a:endParaRPr>
          </a:p>
        </p:txBody>
      </p:sp>
    </p:spTree>
    <p:extLst>
      <p:ext uri="{BB962C8B-B14F-4D97-AF65-F5344CB8AC3E}">
        <p14:creationId xmlns:p14="http://schemas.microsoft.com/office/powerpoint/2010/main" val="38728427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604519" y="467423"/>
            <a:ext cx="2221230" cy="334645"/>
          </a:xfrm>
          <a:prstGeom prst="rect">
            <a:avLst/>
          </a:prstGeom>
        </p:spPr>
        <p:txBody>
          <a:bodyPr vert="horz" wrap="square" lIns="0" tIns="15875" rIns="0" bIns="0" rtlCol="0" anchor="t">
            <a:spAutoFit/>
          </a:bodyPr>
          <a:lstStyle/>
          <a:p>
            <a:pPr marL="12700">
              <a:spcBef>
                <a:spcPts val="125"/>
              </a:spcBef>
            </a:pPr>
            <a:r>
              <a:rPr lang="es-MX" spc="-80" dirty="0" err="1"/>
              <a:t>Our</a:t>
            </a:r>
            <a:r>
              <a:rPr lang="es-MX" spc="-80" dirty="0"/>
              <a:t> </a:t>
            </a:r>
            <a:r>
              <a:rPr lang="es-MX" spc="-80" dirty="0" err="1"/>
              <a:t>Practices</a:t>
            </a:r>
            <a:endParaRPr lang="es-MX" dirty="0" err="1"/>
          </a:p>
        </p:txBody>
      </p:sp>
      <p:sp>
        <p:nvSpPr>
          <p:cNvPr id="4" name="object 4"/>
          <p:cNvSpPr txBox="1"/>
          <p:nvPr/>
        </p:nvSpPr>
        <p:spPr>
          <a:xfrm>
            <a:off x="11740515" y="6407467"/>
            <a:ext cx="11430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0" dirty="0">
                <a:solidFill>
                  <a:srgbClr val="3943F9"/>
                </a:solidFill>
                <a:latin typeface="Microsoft JhengHei"/>
                <a:cs typeface="Microsoft JhengHei"/>
              </a:rPr>
              <a:t>5</a:t>
            </a:r>
            <a:endParaRPr sz="1200">
              <a:latin typeface="Microsoft JhengHei"/>
              <a:cs typeface="Microsoft JhengHe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06742" y="982027"/>
            <a:ext cx="10906760" cy="464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0000"/>
              </a:lnSpc>
              <a:spcBef>
                <a:spcPts val="100"/>
              </a:spcBef>
            </a:pP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At</a:t>
            </a:r>
            <a:r>
              <a:rPr sz="1200" spc="10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Stratis,</a:t>
            </a:r>
            <a:r>
              <a:rPr sz="1200" spc="17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spc="50" dirty="0">
                <a:solidFill>
                  <a:srgbClr val="0C1137"/>
                </a:solidFill>
                <a:latin typeface="Arial"/>
                <a:cs typeface="Arial"/>
              </a:rPr>
              <a:t>our</a:t>
            </a:r>
            <a:r>
              <a:rPr sz="1200" spc="17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organizational</a:t>
            </a:r>
            <a:r>
              <a:rPr sz="1200" spc="114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structure</a:t>
            </a:r>
            <a:r>
              <a:rPr sz="1200" spc="15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and</a:t>
            </a:r>
            <a:r>
              <a:rPr sz="1200" spc="11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operational</a:t>
            </a:r>
            <a:r>
              <a:rPr sz="1200" spc="15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practices</a:t>
            </a:r>
            <a:r>
              <a:rPr sz="1200" spc="13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are</a:t>
            </a:r>
            <a:r>
              <a:rPr sz="1200" spc="15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designed</a:t>
            </a:r>
            <a:r>
              <a:rPr sz="1200" spc="11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to</a:t>
            </a:r>
            <a:r>
              <a:rPr sz="1200" spc="22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ensure</a:t>
            </a:r>
            <a:r>
              <a:rPr sz="1200" spc="114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spc="-70" dirty="0">
                <a:solidFill>
                  <a:srgbClr val="0C1137"/>
                </a:solidFill>
                <a:latin typeface="Arial Black"/>
                <a:cs typeface="Arial Black"/>
              </a:rPr>
              <a:t>efficiency,</a:t>
            </a:r>
            <a:r>
              <a:rPr sz="1200" spc="-5" dirty="0">
                <a:solidFill>
                  <a:srgbClr val="0C1137"/>
                </a:solidFill>
                <a:latin typeface="Arial Black"/>
                <a:cs typeface="Arial Black"/>
              </a:rPr>
              <a:t> </a:t>
            </a:r>
            <a:r>
              <a:rPr sz="1200" spc="-50" dirty="0">
                <a:solidFill>
                  <a:srgbClr val="0C1137"/>
                </a:solidFill>
                <a:latin typeface="Arial Black"/>
                <a:cs typeface="Arial Black"/>
              </a:rPr>
              <a:t>adaptability,</a:t>
            </a:r>
            <a:r>
              <a:rPr sz="1200" spc="30" dirty="0">
                <a:solidFill>
                  <a:srgbClr val="0C1137"/>
                </a:solidFill>
                <a:latin typeface="Arial Black"/>
                <a:cs typeface="Arial Black"/>
              </a:rPr>
              <a:t> </a:t>
            </a:r>
            <a:r>
              <a:rPr sz="1200" dirty="0">
                <a:solidFill>
                  <a:srgbClr val="0C1137"/>
                </a:solidFill>
                <a:latin typeface="Arial Black"/>
                <a:cs typeface="Arial Black"/>
              </a:rPr>
              <a:t>and</a:t>
            </a:r>
            <a:r>
              <a:rPr sz="1200" spc="35" dirty="0">
                <a:solidFill>
                  <a:srgbClr val="0C1137"/>
                </a:solidFill>
                <a:latin typeface="Arial Black"/>
                <a:cs typeface="Arial Black"/>
              </a:rPr>
              <a:t> </a:t>
            </a:r>
            <a:r>
              <a:rPr sz="1200" spc="-35" dirty="0">
                <a:solidFill>
                  <a:srgbClr val="0C1137"/>
                </a:solidFill>
                <a:latin typeface="Arial Black"/>
                <a:cs typeface="Arial Black"/>
              </a:rPr>
              <a:t>value</a:t>
            </a:r>
            <a:r>
              <a:rPr sz="1200" spc="20" dirty="0">
                <a:solidFill>
                  <a:srgbClr val="0C1137"/>
                </a:solidFill>
                <a:latin typeface="Arial Black"/>
                <a:cs typeface="Arial Black"/>
              </a:rPr>
              <a:t> </a:t>
            </a:r>
            <a:r>
              <a:rPr sz="1200" spc="-55" dirty="0">
                <a:solidFill>
                  <a:srgbClr val="0C1137"/>
                </a:solidFill>
                <a:latin typeface="Arial Black"/>
                <a:cs typeface="Arial Black"/>
              </a:rPr>
              <a:t>delivery</a:t>
            </a:r>
            <a:r>
              <a:rPr sz="1200" spc="20" dirty="0">
                <a:solidFill>
                  <a:srgbClr val="0C1137"/>
                </a:solidFill>
                <a:latin typeface="Arial Black"/>
                <a:cs typeface="Arial Black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for</a:t>
            </a:r>
            <a:r>
              <a:rPr sz="1200" spc="19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spc="50" dirty="0">
                <a:solidFill>
                  <a:srgbClr val="0C1137"/>
                </a:solidFill>
                <a:latin typeface="Arial"/>
                <a:cs typeface="Arial"/>
              </a:rPr>
              <a:t>our</a:t>
            </a:r>
            <a:r>
              <a:rPr sz="1200" spc="17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clients</a:t>
            </a:r>
            <a:r>
              <a:rPr sz="1200" spc="15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spc="-25" dirty="0">
                <a:solidFill>
                  <a:srgbClr val="0C1137"/>
                </a:solidFill>
                <a:latin typeface="Arial"/>
                <a:cs typeface="Arial"/>
              </a:rPr>
              <a:t>and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talent.</a:t>
            </a:r>
            <a:r>
              <a:rPr sz="1200" spc="12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Here's</a:t>
            </a:r>
            <a:r>
              <a:rPr sz="1200" spc="5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an</a:t>
            </a:r>
            <a:r>
              <a:rPr sz="1200" spc="7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overview</a:t>
            </a:r>
            <a:r>
              <a:rPr sz="1200" spc="11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of</a:t>
            </a:r>
            <a:r>
              <a:rPr sz="1200" spc="15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how</a:t>
            </a:r>
            <a:r>
              <a:rPr sz="1200" spc="18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we</a:t>
            </a:r>
            <a:r>
              <a:rPr sz="1200" spc="6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are</a:t>
            </a:r>
            <a:r>
              <a:rPr sz="1200" spc="8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structured</a:t>
            </a:r>
            <a:r>
              <a:rPr sz="1200" spc="13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and</a:t>
            </a:r>
            <a:r>
              <a:rPr sz="1200" spc="6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the</a:t>
            </a:r>
            <a:r>
              <a:rPr sz="1200" spc="15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practices</a:t>
            </a:r>
            <a:r>
              <a:rPr sz="1200" spc="8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we</a:t>
            </a:r>
            <a:r>
              <a:rPr sz="1200" spc="6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follow</a:t>
            </a:r>
            <a:r>
              <a:rPr sz="1200" spc="13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to</a:t>
            </a:r>
            <a:r>
              <a:rPr sz="1200" spc="19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C1137"/>
                </a:solidFill>
                <a:latin typeface="Arial"/>
                <a:cs typeface="Arial"/>
              </a:rPr>
              <a:t>achieve</a:t>
            </a:r>
            <a:r>
              <a:rPr sz="1200" spc="8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1200" spc="-10" dirty="0">
                <a:solidFill>
                  <a:srgbClr val="0C1137"/>
                </a:solidFill>
                <a:latin typeface="Arial"/>
                <a:cs typeface="Arial"/>
              </a:rPr>
              <a:t>excellence:</a:t>
            </a:r>
            <a:endParaRPr sz="120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533400" y="3562350"/>
            <a:ext cx="1866264" cy="466725"/>
          </a:xfrm>
          <a:custGeom>
            <a:avLst/>
            <a:gdLst/>
            <a:ahLst/>
            <a:cxnLst/>
            <a:rect l="l" t="t" r="r" b="b"/>
            <a:pathLst>
              <a:path w="1866264" h="466725">
                <a:moveTo>
                  <a:pt x="1788033" y="0"/>
                </a:moveTo>
                <a:lnTo>
                  <a:pt x="78244" y="0"/>
                </a:lnTo>
                <a:lnTo>
                  <a:pt x="47790" y="6096"/>
                </a:lnTo>
                <a:lnTo>
                  <a:pt x="22923" y="22860"/>
                </a:lnTo>
                <a:lnTo>
                  <a:pt x="6146" y="47498"/>
                </a:lnTo>
                <a:lnTo>
                  <a:pt x="0" y="77850"/>
                </a:lnTo>
                <a:lnTo>
                  <a:pt x="0" y="388874"/>
                </a:lnTo>
                <a:lnTo>
                  <a:pt x="6146" y="419226"/>
                </a:lnTo>
                <a:lnTo>
                  <a:pt x="22923" y="443992"/>
                </a:lnTo>
                <a:lnTo>
                  <a:pt x="47790" y="460629"/>
                </a:lnTo>
                <a:lnTo>
                  <a:pt x="78244" y="466725"/>
                </a:lnTo>
                <a:lnTo>
                  <a:pt x="1788033" y="466725"/>
                </a:lnTo>
                <a:lnTo>
                  <a:pt x="1818513" y="460629"/>
                </a:lnTo>
                <a:lnTo>
                  <a:pt x="1843405" y="443992"/>
                </a:lnTo>
                <a:lnTo>
                  <a:pt x="1860169" y="419226"/>
                </a:lnTo>
                <a:lnTo>
                  <a:pt x="1866264" y="388874"/>
                </a:lnTo>
                <a:lnTo>
                  <a:pt x="1866264" y="77850"/>
                </a:lnTo>
                <a:lnTo>
                  <a:pt x="1860169" y="47498"/>
                </a:lnTo>
                <a:lnTo>
                  <a:pt x="1843405" y="22860"/>
                </a:lnTo>
                <a:lnTo>
                  <a:pt x="1818513" y="6096"/>
                </a:lnTo>
                <a:lnTo>
                  <a:pt x="1788033" y="0"/>
                </a:lnTo>
                <a:close/>
              </a:path>
            </a:pathLst>
          </a:custGeom>
          <a:solidFill>
            <a:srgbClr val="3943F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943610" y="3602354"/>
            <a:ext cx="1053465" cy="35941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R="5080" algn="r">
              <a:lnSpc>
                <a:spcPts val="1295"/>
              </a:lnSpc>
              <a:spcBef>
                <a:spcPts val="125"/>
              </a:spcBef>
            </a:pPr>
            <a:r>
              <a:rPr sz="1100" spc="-35" dirty="0">
                <a:solidFill>
                  <a:srgbClr val="FFFFFF"/>
                </a:solidFill>
                <a:latin typeface="Arial Black"/>
                <a:cs typeface="Arial Black"/>
              </a:rPr>
              <a:t>1)</a:t>
            </a:r>
            <a:r>
              <a:rPr sz="1100" spc="-210" dirty="0">
                <a:solidFill>
                  <a:srgbClr val="FFFFFF"/>
                </a:solidFill>
                <a:latin typeface="Arial Black"/>
                <a:cs typeface="Arial Black"/>
              </a:rPr>
              <a:t> </a:t>
            </a:r>
            <a:r>
              <a:rPr sz="1100" spc="-70" dirty="0">
                <a:solidFill>
                  <a:srgbClr val="FFFFFF"/>
                </a:solidFill>
                <a:latin typeface="Arial Black"/>
                <a:cs typeface="Arial Black"/>
              </a:rPr>
              <a:t>Cloud</a:t>
            </a:r>
            <a:r>
              <a:rPr sz="1100" spc="-105" dirty="0">
                <a:solidFill>
                  <a:srgbClr val="FFFFFF"/>
                </a:solidFill>
                <a:latin typeface="Arial Black"/>
                <a:cs typeface="Arial Black"/>
              </a:rPr>
              <a:t> </a:t>
            </a:r>
            <a:r>
              <a:rPr sz="1100" dirty="0">
                <a:solidFill>
                  <a:srgbClr val="FFFFFF"/>
                </a:solidFill>
                <a:latin typeface="Arial Black"/>
                <a:cs typeface="Arial Black"/>
              </a:rPr>
              <a:t>/</a:t>
            </a:r>
            <a:r>
              <a:rPr sz="1100" spc="95" dirty="0">
                <a:solidFill>
                  <a:srgbClr val="FFFFFF"/>
                </a:solidFill>
                <a:latin typeface="Arial Black"/>
                <a:cs typeface="Arial Black"/>
              </a:rPr>
              <a:t> </a:t>
            </a:r>
            <a:r>
              <a:rPr sz="1100" spc="-20" dirty="0">
                <a:solidFill>
                  <a:srgbClr val="FFFFFF"/>
                </a:solidFill>
                <a:latin typeface="Arial Black"/>
                <a:cs typeface="Arial Black"/>
              </a:rPr>
              <a:t>Data</a:t>
            </a:r>
            <a:endParaRPr sz="1100">
              <a:latin typeface="Arial Black"/>
              <a:cs typeface="Arial Black"/>
            </a:endParaRPr>
          </a:p>
          <a:p>
            <a:pPr marR="26670" algn="r">
              <a:lnSpc>
                <a:spcPts val="1295"/>
              </a:lnSpc>
            </a:pPr>
            <a:r>
              <a:rPr sz="1100" spc="-10" dirty="0">
                <a:solidFill>
                  <a:srgbClr val="FFFFFF"/>
                </a:solidFill>
                <a:latin typeface="Arial Black"/>
                <a:cs typeface="Arial Black"/>
              </a:rPr>
              <a:t>Engineering</a:t>
            </a:r>
            <a:endParaRPr sz="1100">
              <a:latin typeface="Arial Black"/>
              <a:cs typeface="Arial Black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43547" y="4345680"/>
            <a:ext cx="2057400" cy="1274445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300"/>
              </a:spcBef>
            </a:pP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-</a:t>
            </a:r>
            <a:r>
              <a:rPr sz="950" spc="8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Data</a:t>
            </a:r>
            <a:r>
              <a:rPr sz="950" spc="4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-10" dirty="0">
                <a:solidFill>
                  <a:srgbClr val="0C1137"/>
                </a:solidFill>
                <a:latin typeface="Arial Black"/>
                <a:cs typeface="Arial Black"/>
              </a:rPr>
              <a:t>Visualization</a:t>
            </a:r>
            <a:endParaRPr sz="950">
              <a:latin typeface="Arial Black"/>
              <a:cs typeface="Arial Black"/>
            </a:endParaRPr>
          </a:p>
          <a:p>
            <a:pPr marL="107314" marR="91440" algn="ctr">
              <a:lnSpc>
                <a:spcPts val="1430"/>
              </a:lnSpc>
              <a:spcBef>
                <a:spcPts val="15"/>
              </a:spcBef>
            </a:pP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-</a:t>
            </a:r>
            <a:r>
              <a:rPr sz="950" spc="204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Architecture</a:t>
            </a:r>
            <a:r>
              <a:rPr sz="950" spc="18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and</a:t>
            </a:r>
            <a:r>
              <a:rPr sz="950" spc="17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-90" dirty="0">
                <a:solidFill>
                  <a:srgbClr val="0C1137"/>
                </a:solidFill>
                <a:latin typeface="Arial Black"/>
                <a:cs typeface="Arial Black"/>
              </a:rPr>
              <a:t>ETLs</a:t>
            </a:r>
            <a:r>
              <a:rPr sz="950" spc="5" dirty="0">
                <a:solidFill>
                  <a:srgbClr val="0C1137"/>
                </a:solidFill>
                <a:latin typeface="Arial Black"/>
                <a:cs typeface="Arial Black"/>
              </a:rPr>
              <a:t> </a:t>
            </a:r>
            <a:r>
              <a:rPr sz="950" spc="-10" dirty="0">
                <a:solidFill>
                  <a:srgbClr val="0C1137"/>
                </a:solidFill>
                <a:latin typeface="Arial"/>
                <a:cs typeface="Arial"/>
              </a:rPr>
              <a:t>(Extract,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Transform,</a:t>
            </a:r>
            <a:r>
              <a:rPr sz="950" spc="45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-20" dirty="0">
                <a:solidFill>
                  <a:srgbClr val="0C1137"/>
                </a:solidFill>
                <a:latin typeface="Arial"/>
                <a:cs typeface="Arial"/>
              </a:rPr>
              <a:t>Load)</a:t>
            </a:r>
            <a:endParaRPr sz="950"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265"/>
              </a:spcBef>
            </a:pP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-</a:t>
            </a:r>
            <a:r>
              <a:rPr sz="950" spc="19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Analytics</a:t>
            </a:r>
            <a:r>
              <a:rPr sz="950" spc="13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and</a:t>
            </a:r>
            <a:r>
              <a:rPr sz="950" spc="15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Predictive</a:t>
            </a:r>
            <a:r>
              <a:rPr sz="950" spc="22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-10" dirty="0">
                <a:solidFill>
                  <a:srgbClr val="0C1137"/>
                </a:solidFill>
                <a:latin typeface="Arial Black"/>
                <a:cs typeface="Arial Black"/>
              </a:rPr>
              <a:t>Models*</a:t>
            </a:r>
            <a:endParaRPr sz="950">
              <a:latin typeface="Arial Black"/>
              <a:cs typeface="Arial Black"/>
            </a:endParaRPr>
          </a:p>
          <a:p>
            <a:pPr algn="ctr">
              <a:lnSpc>
                <a:spcPct val="100000"/>
              </a:lnSpc>
              <a:spcBef>
                <a:spcPts val="215"/>
              </a:spcBef>
            </a:pPr>
            <a:r>
              <a:rPr sz="950" dirty="0">
                <a:solidFill>
                  <a:srgbClr val="0C1137"/>
                </a:solidFill>
                <a:latin typeface="Arial Black"/>
                <a:cs typeface="Arial Black"/>
              </a:rPr>
              <a:t>-</a:t>
            </a:r>
            <a:r>
              <a:rPr sz="950" spc="-55" dirty="0">
                <a:solidFill>
                  <a:srgbClr val="0C1137"/>
                </a:solidFill>
                <a:latin typeface="Arial Black"/>
                <a:cs typeface="Arial Black"/>
              </a:rPr>
              <a:t> </a:t>
            </a:r>
            <a:r>
              <a:rPr sz="950" spc="-10" dirty="0">
                <a:solidFill>
                  <a:srgbClr val="0C1137"/>
                </a:solidFill>
                <a:latin typeface="Arial Black"/>
                <a:cs typeface="Arial Black"/>
              </a:rPr>
              <a:t>Governance</a:t>
            </a:r>
            <a:endParaRPr sz="950">
              <a:latin typeface="Arial Black"/>
              <a:cs typeface="Arial Black"/>
            </a:endParaRPr>
          </a:p>
          <a:p>
            <a:pPr marL="14604" algn="ctr">
              <a:lnSpc>
                <a:spcPct val="100000"/>
              </a:lnSpc>
              <a:spcBef>
                <a:spcPts val="210"/>
              </a:spcBef>
            </a:pPr>
            <a:r>
              <a:rPr sz="950" dirty="0">
                <a:solidFill>
                  <a:srgbClr val="0C1137"/>
                </a:solidFill>
                <a:latin typeface="Arial Black"/>
                <a:cs typeface="Arial Black"/>
              </a:rPr>
              <a:t>-</a:t>
            </a:r>
            <a:r>
              <a:rPr sz="950" spc="-30" dirty="0">
                <a:solidFill>
                  <a:srgbClr val="0C1137"/>
                </a:solidFill>
                <a:latin typeface="Arial Black"/>
                <a:cs typeface="Arial Black"/>
              </a:rPr>
              <a:t> </a:t>
            </a:r>
            <a:r>
              <a:rPr sz="950" spc="-70" dirty="0">
                <a:solidFill>
                  <a:srgbClr val="0C1137"/>
                </a:solidFill>
                <a:latin typeface="Arial Black"/>
                <a:cs typeface="Arial Black"/>
              </a:rPr>
              <a:t>Stratis</a:t>
            </a:r>
            <a:r>
              <a:rPr sz="950" spc="-95" dirty="0">
                <a:solidFill>
                  <a:srgbClr val="0C1137"/>
                </a:solidFill>
                <a:latin typeface="Arial Black"/>
                <a:cs typeface="Arial Black"/>
              </a:rPr>
              <a:t> </a:t>
            </a:r>
            <a:r>
              <a:rPr sz="950" spc="-40" dirty="0">
                <a:solidFill>
                  <a:srgbClr val="0C1137"/>
                </a:solidFill>
                <a:latin typeface="Arial Black"/>
                <a:cs typeface="Arial Black"/>
              </a:rPr>
              <a:t>AI</a:t>
            </a:r>
            <a:r>
              <a:rPr sz="950" spc="-120" dirty="0">
                <a:solidFill>
                  <a:srgbClr val="0C1137"/>
                </a:solidFill>
                <a:latin typeface="Arial Black"/>
                <a:cs typeface="Arial Black"/>
              </a:rPr>
              <a:t> </a:t>
            </a:r>
            <a:r>
              <a:rPr sz="950" spc="-45" dirty="0">
                <a:solidFill>
                  <a:srgbClr val="0C1137"/>
                </a:solidFill>
                <a:latin typeface="Arial Black"/>
                <a:cs typeface="Arial Black"/>
              </a:rPr>
              <a:t>Data</a:t>
            </a:r>
            <a:r>
              <a:rPr sz="950" spc="-55" dirty="0">
                <a:solidFill>
                  <a:srgbClr val="0C1137"/>
                </a:solidFill>
                <a:latin typeface="Arial Black"/>
                <a:cs typeface="Arial Black"/>
              </a:rPr>
              <a:t> </a:t>
            </a:r>
            <a:r>
              <a:rPr sz="950" spc="-25" dirty="0">
                <a:solidFill>
                  <a:srgbClr val="0C1137"/>
                </a:solidFill>
                <a:latin typeface="Arial Black"/>
                <a:cs typeface="Arial Black"/>
              </a:rPr>
              <a:t>Eng</a:t>
            </a:r>
            <a:endParaRPr sz="950">
              <a:latin typeface="Arial Black"/>
              <a:cs typeface="Arial Black"/>
            </a:endParaRPr>
          </a:p>
          <a:p>
            <a:pPr marL="1905" algn="ctr">
              <a:lnSpc>
                <a:spcPct val="100000"/>
              </a:lnSpc>
              <a:spcBef>
                <a:spcPts val="360"/>
              </a:spcBef>
            </a:pPr>
            <a:r>
              <a:rPr sz="950" spc="-10" dirty="0">
                <a:solidFill>
                  <a:srgbClr val="0C1137"/>
                </a:solidFill>
                <a:latin typeface="Arial Black"/>
                <a:cs typeface="Arial Black"/>
              </a:rPr>
              <a:t>Framework</a:t>
            </a:r>
            <a:endParaRPr sz="950">
              <a:latin typeface="Arial Black"/>
              <a:cs typeface="Arial Black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828925" y="3562350"/>
            <a:ext cx="1781175" cy="571500"/>
          </a:xfrm>
          <a:custGeom>
            <a:avLst/>
            <a:gdLst/>
            <a:ahLst/>
            <a:cxnLst/>
            <a:rect l="l" t="t" r="r" b="b"/>
            <a:pathLst>
              <a:path w="1781175" h="571500">
                <a:moveTo>
                  <a:pt x="1684401" y="0"/>
                </a:moveTo>
                <a:lnTo>
                  <a:pt x="96393" y="0"/>
                </a:lnTo>
                <a:lnTo>
                  <a:pt x="58927" y="7492"/>
                </a:lnTo>
                <a:lnTo>
                  <a:pt x="28320" y="27939"/>
                </a:lnTo>
                <a:lnTo>
                  <a:pt x="7619" y="58166"/>
                </a:lnTo>
                <a:lnTo>
                  <a:pt x="0" y="95250"/>
                </a:lnTo>
                <a:lnTo>
                  <a:pt x="0" y="476250"/>
                </a:lnTo>
                <a:lnTo>
                  <a:pt x="7619" y="513333"/>
                </a:lnTo>
                <a:lnTo>
                  <a:pt x="28320" y="543560"/>
                </a:lnTo>
                <a:lnTo>
                  <a:pt x="58927" y="564007"/>
                </a:lnTo>
                <a:lnTo>
                  <a:pt x="96393" y="571500"/>
                </a:lnTo>
                <a:lnTo>
                  <a:pt x="1684401" y="571500"/>
                </a:lnTo>
                <a:lnTo>
                  <a:pt x="1721865" y="564007"/>
                </a:lnTo>
                <a:lnTo>
                  <a:pt x="1752600" y="543560"/>
                </a:lnTo>
                <a:lnTo>
                  <a:pt x="1773174" y="513333"/>
                </a:lnTo>
                <a:lnTo>
                  <a:pt x="1780794" y="476250"/>
                </a:lnTo>
                <a:lnTo>
                  <a:pt x="1780794" y="95250"/>
                </a:lnTo>
                <a:lnTo>
                  <a:pt x="1773174" y="58166"/>
                </a:lnTo>
                <a:lnTo>
                  <a:pt x="1752600" y="27939"/>
                </a:lnTo>
                <a:lnTo>
                  <a:pt x="1721865" y="7492"/>
                </a:lnTo>
                <a:lnTo>
                  <a:pt x="1684401" y="0"/>
                </a:lnTo>
                <a:close/>
              </a:path>
            </a:pathLst>
          </a:custGeom>
          <a:solidFill>
            <a:srgbClr val="3943F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3142995" y="3655695"/>
            <a:ext cx="1111885" cy="35941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268605">
              <a:lnSpc>
                <a:spcPts val="1295"/>
              </a:lnSpc>
              <a:spcBef>
                <a:spcPts val="125"/>
              </a:spcBef>
            </a:pPr>
            <a:r>
              <a:rPr sz="1100" spc="-35" dirty="0">
                <a:solidFill>
                  <a:srgbClr val="FFFFFF"/>
                </a:solidFill>
                <a:latin typeface="Arial Black"/>
                <a:cs typeface="Arial Black"/>
              </a:rPr>
              <a:t>2)</a:t>
            </a:r>
            <a:r>
              <a:rPr sz="1100" spc="-200" dirty="0">
                <a:solidFill>
                  <a:srgbClr val="FFFFFF"/>
                </a:solidFill>
                <a:latin typeface="Arial Black"/>
                <a:cs typeface="Arial Black"/>
              </a:rPr>
              <a:t> </a:t>
            </a:r>
            <a:r>
              <a:rPr sz="1100" spc="-10" dirty="0">
                <a:solidFill>
                  <a:srgbClr val="FFFFFF"/>
                </a:solidFill>
                <a:latin typeface="Arial Black"/>
                <a:cs typeface="Arial Black"/>
              </a:rPr>
              <a:t>Digital</a:t>
            </a:r>
            <a:endParaRPr sz="1100">
              <a:latin typeface="Arial Black"/>
              <a:cs typeface="Arial Black"/>
            </a:endParaRPr>
          </a:p>
          <a:p>
            <a:pPr marL="12700">
              <a:lnSpc>
                <a:spcPts val="1295"/>
              </a:lnSpc>
            </a:pPr>
            <a:r>
              <a:rPr sz="1100" spc="-55" dirty="0">
                <a:solidFill>
                  <a:srgbClr val="FFFFFF"/>
                </a:solidFill>
                <a:latin typeface="Arial Black"/>
                <a:cs typeface="Arial Black"/>
              </a:rPr>
              <a:t>Transformation</a:t>
            </a:r>
            <a:endParaRPr sz="1100">
              <a:latin typeface="Arial Black"/>
              <a:cs typeface="Arial Black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980689" y="4305724"/>
            <a:ext cx="1498600" cy="1312545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36830" marR="29209" indent="-10795" algn="ctr">
              <a:lnSpc>
                <a:spcPct val="127299"/>
              </a:lnSpc>
              <a:spcBef>
                <a:spcPts val="140"/>
              </a:spcBef>
            </a:pP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-</a:t>
            </a:r>
            <a:r>
              <a:rPr sz="950" spc="10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Digital</a:t>
            </a:r>
            <a:r>
              <a:rPr sz="950" spc="11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-10" dirty="0">
                <a:solidFill>
                  <a:srgbClr val="0C1137"/>
                </a:solidFill>
                <a:latin typeface="Arial"/>
                <a:cs typeface="Arial"/>
              </a:rPr>
              <a:t>Transformation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Architecture</a:t>
            </a:r>
            <a:r>
              <a:rPr sz="950" spc="140" dirty="0">
                <a:solidFill>
                  <a:srgbClr val="0C1137"/>
                </a:solidFill>
                <a:latin typeface="Arial"/>
                <a:cs typeface="Arial"/>
              </a:rPr>
              <a:t>  </a:t>
            </a:r>
            <a:r>
              <a:rPr sz="950" spc="-10" dirty="0">
                <a:solidFill>
                  <a:srgbClr val="0C1137"/>
                </a:solidFill>
                <a:latin typeface="Arial"/>
                <a:cs typeface="Arial"/>
              </a:rPr>
              <a:t>(Consulting)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Digital</a:t>
            </a:r>
            <a:r>
              <a:rPr sz="950" spc="15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Agile</a:t>
            </a:r>
            <a:r>
              <a:rPr sz="950" spc="17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-10" dirty="0">
                <a:solidFill>
                  <a:srgbClr val="0C1137"/>
                </a:solidFill>
                <a:latin typeface="Arial"/>
                <a:cs typeface="Arial"/>
              </a:rPr>
              <a:t>Factory (Execution)</a:t>
            </a:r>
            <a:endParaRPr sz="950">
              <a:latin typeface="Arial"/>
              <a:cs typeface="Arial"/>
            </a:endParaRPr>
          </a:p>
          <a:p>
            <a:pPr marR="12065" algn="ctr">
              <a:lnSpc>
                <a:spcPct val="100000"/>
              </a:lnSpc>
              <a:spcBef>
                <a:spcPts val="360"/>
              </a:spcBef>
            </a:pP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-</a:t>
            </a:r>
            <a:r>
              <a:rPr sz="950" spc="-10" dirty="0">
                <a:solidFill>
                  <a:srgbClr val="0C1137"/>
                </a:solidFill>
                <a:latin typeface="Arial"/>
                <a:cs typeface="Arial"/>
              </a:rPr>
              <a:t> Automation</a:t>
            </a:r>
            <a:endParaRPr sz="950"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215"/>
              </a:spcBef>
            </a:pP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-</a:t>
            </a:r>
            <a:r>
              <a:rPr sz="950" spc="5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-70" dirty="0">
                <a:solidFill>
                  <a:srgbClr val="0C1137"/>
                </a:solidFill>
                <a:latin typeface="Arial Black"/>
                <a:cs typeface="Arial Black"/>
              </a:rPr>
              <a:t>Stratis</a:t>
            </a:r>
            <a:r>
              <a:rPr sz="950" spc="-105" dirty="0">
                <a:solidFill>
                  <a:srgbClr val="0C1137"/>
                </a:solidFill>
                <a:latin typeface="Arial Black"/>
                <a:cs typeface="Arial Black"/>
              </a:rPr>
              <a:t> </a:t>
            </a:r>
            <a:r>
              <a:rPr sz="950" spc="-40" dirty="0">
                <a:solidFill>
                  <a:srgbClr val="0C1137"/>
                </a:solidFill>
                <a:latin typeface="Arial Black"/>
                <a:cs typeface="Arial Black"/>
              </a:rPr>
              <a:t>AI</a:t>
            </a:r>
            <a:r>
              <a:rPr sz="950" spc="-145" dirty="0">
                <a:solidFill>
                  <a:srgbClr val="0C1137"/>
                </a:solidFill>
                <a:latin typeface="Arial Black"/>
                <a:cs typeface="Arial Black"/>
              </a:rPr>
              <a:t> </a:t>
            </a:r>
            <a:r>
              <a:rPr sz="950" spc="-10" dirty="0">
                <a:solidFill>
                  <a:srgbClr val="0C1137"/>
                </a:solidFill>
                <a:latin typeface="Arial Black"/>
                <a:cs typeface="Arial Black"/>
              </a:rPr>
              <a:t>Development</a:t>
            </a:r>
            <a:endParaRPr sz="950">
              <a:latin typeface="Arial Black"/>
              <a:cs typeface="Arial Black"/>
            </a:endParaRPr>
          </a:p>
          <a:p>
            <a:pPr marR="1905" algn="ctr">
              <a:lnSpc>
                <a:spcPct val="100000"/>
              </a:lnSpc>
              <a:spcBef>
                <a:spcPts val="285"/>
              </a:spcBef>
            </a:pPr>
            <a:r>
              <a:rPr sz="950" spc="-10" dirty="0">
                <a:solidFill>
                  <a:srgbClr val="0C1137"/>
                </a:solidFill>
                <a:latin typeface="Arial Black"/>
                <a:cs typeface="Arial Black"/>
              </a:rPr>
              <a:t>Framework</a:t>
            </a:r>
            <a:endParaRPr sz="950">
              <a:latin typeface="Arial Black"/>
              <a:cs typeface="Arial Black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041900" y="4336179"/>
            <a:ext cx="1767205" cy="1274445"/>
          </a:xfrm>
          <a:prstGeom prst="rect">
            <a:avLst/>
          </a:prstGeom>
        </p:spPr>
        <p:txBody>
          <a:bodyPr vert="horz" wrap="square" lIns="0" tIns="4762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375"/>
              </a:spcBef>
            </a:pPr>
            <a:r>
              <a:rPr sz="950" spc="10" dirty="0">
                <a:solidFill>
                  <a:srgbClr val="0C1137"/>
                </a:solidFill>
                <a:latin typeface="Arial"/>
                <a:cs typeface="Arial"/>
              </a:rPr>
              <a:t>-</a:t>
            </a:r>
            <a:r>
              <a:rPr sz="950" spc="19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10" dirty="0">
                <a:solidFill>
                  <a:srgbClr val="0C1137"/>
                </a:solidFill>
                <a:latin typeface="Arial"/>
                <a:cs typeface="Arial"/>
              </a:rPr>
              <a:t>Automation</a:t>
            </a:r>
            <a:r>
              <a:rPr sz="950" spc="17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10" dirty="0">
                <a:solidFill>
                  <a:srgbClr val="0C1137"/>
                </a:solidFill>
                <a:latin typeface="Arial"/>
                <a:cs typeface="Arial"/>
              </a:rPr>
              <a:t>Gap</a:t>
            </a:r>
            <a:r>
              <a:rPr sz="950" spc="17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-10" dirty="0">
                <a:solidFill>
                  <a:srgbClr val="0C1137"/>
                </a:solidFill>
                <a:latin typeface="Arial"/>
                <a:cs typeface="Arial"/>
              </a:rPr>
              <a:t>Assessment</a:t>
            </a:r>
            <a:endParaRPr sz="950">
              <a:latin typeface="Arial"/>
              <a:cs typeface="Arial"/>
            </a:endParaRPr>
          </a:p>
          <a:p>
            <a:pPr marL="26670" marR="9525" indent="-10160" algn="ctr">
              <a:lnSpc>
                <a:spcPct val="118600"/>
              </a:lnSpc>
              <a:spcBef>
                <a:spcPts val="75"/>
              </a:spcBef>
            </a:pP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-</a:t>
            </a:r>
            <a:r>
              <a:rPr sz="950" spc="5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Software</a:t>
            </a:r>
            <a:r>
              <a:rPr sz="950" spc="22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Testing</a:t>
            </a:r>
            <a:r>
              <a:rPr sz="950" spc="229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-10" dirty="0">
                <a:solidFill>
                  <a:srgbClr val="0C1137"/>
                </a:solidFill>
                <a:latin typeface="Arial"/>
                <a:cs typeface="Arial"/>
              </a:rPr>
              <a:t>Lifecycle,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deep</a:t>
            </a:r>
            <a:r>
              <a:rPr sz="950" spc="12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design,</a:t>
            </a:r>
            <a:r>
              <a:rPr sz="950" spc="14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and</a:t>
            </a:r>
            <a:r>
              <a:rPr sz="950" spc="275" dirty="0">
                <a:solidFill>
                  <a:srgbClr val="0C1137"/>
                </a:solidFill>
                <a:latin typeface="Arial"/>
                <a:cs typeface="Arial"/>
              </a:rPr>
              <a:t>  </a:t>
            </a:r>
            <a:r>
              <a:rPr sz="950" spc="-10" dirty="0">
                <a:solidFill>
                  <a:srgbClr val="0C1137"/>
                </a:solidFill>
                <a:latin typeface="Arial"/>
                <a:cs typeface="Arial"/>
              </a:rPr>
              <a:t>productivity enhancement</a:t>
            </a:r>
            <a:endParaRPr sz="950"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434"/>
              </a:spcBef>
            </a:pP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-</a:t>
            </a:r>
            <a:r>
              <a:rPr sz="950" spc="-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-10" dirty="0">
                <a:solidFill>
                  <a:srgbClr val="0C1137"/>
                </a:solidFill>
                <a:latin typeface="Arial"/>
                <a:cs typeface="Arial"/>
              </a:rPr>
              <a:t>Automation</a:t>
            </a:r>
            <a:endParaRPr sz="950">
              <a:latin typeface="Arial"/>
              <a:cs typeface="Arial"/>
            </a:endParaRPr>
          </a:p>
          <a:p>
            <a:pPr marR="6985" algn="ctr">
              <a:lnSpc>
                <a:spcPct val="100000"/>
              </a:lnSpc>
              <a:spcBef>
                <a:spcPts val="140"/>
              </a:spcBef>
            </a:pPr>
            <a:r>
              <a:rPr sz="950" dirty="0">
                <a:solidFill>
                  <a:srgbClr val="0C1137"/>
                </a:solidFill>
                <a:latin typeface="Arial Black"/>
                <a:cs typeface="Arial Black"/>
              </a:rPr>
              <a:t>-</a:t>
            </a:r>
            <a:r>
              <a:rPr sz="950" spc="-35" dirty="0">
                <a:solidFill>
                  <a:srgbClr val="0C1137"/>
                </a:solidFill>
                <a:latin typeface="Arial Black"/>
                <a:cs typeface="Arial Black"/>
              </a:rPr>
              <a:t> </a:t>
            </a:r>
            <a:r>
              <a:rPr sz="950" spc="-70" dirty="0">
                <a:solidFill>
                  <a:srgbClr val="0C1137"/>
                </a:solidFill>
                <a:latin typeface="Arial Black"/>
                <a:cs typeface="Arial Black"/>
              </a:rPr>
              <a:t>Stratis</a:t>
            </a:r>
            <a:r>
              <a:rPr sz="950" spc="-95" dirty="0">
                <a:solidFill>
                  <a:srgbClr val="0C1137"/>
                </a:solidFill>
                <a:latin typeface="Arial Black"/>
                <a:cs typeface="Arial Black"/>
              </a:rPr>
              <a:t> </a:t>
            </a:r>
            <a:r>
              <a:rPr sz="950" spc="-40" dirty="0">
                <a:solidFill>
                  <a:srgbClr val="0C1137"/>
                </a:solidFill>
                <a:latin typeface="Arial Black"/>
                <a:cs typeface="Arial Black"/>
              </a:rPr>
              <a:t>AI</a:t>
            </a:r>
            <a:r>
              <a:rPr sz="950" spc="-125" dirty="0">
                <a:solidFill>
                  <a:srgbClr val="0C1137"/>
                </a:solidFill>
                <a:latin typeface="Arial Black"/>
                <a:cs typeface="Arial Black"/>
              </a:rPr>
              <a:t> </a:t>
            </a:r>
            <a:r>
              <a:rPr sz="950" spc="-25" dirty="0">
                <a:solidFill>
                  <a:srgbClr val="0C1137"/>
                </a:solidFill>
                <a:latin typeface="Arial Black"/>
                <a:cs typeface="Arial Black"/>
              </a:rPr>
              <a:t>QA</a:t>
            </a:r>
            <a:endParaRPr sz="950">
              <a:latin typeface="Arial Black"/>
              <a:cs typeface="Arial Black"/>
            </a:endParaRPr>
          </a:p>
          <a:p>
            <a:pPr marR="17145" algn="ctr">
              <a:lnSpc>
                <a:spcPct val="100000"/>
              </a:lnSpc>
              <a:spcBef>
                <a:spcPts val="284"/>
              </a:spcBef>
            </a:pPr>
            <a:r>
              <a:rPr sz="950" spc="-10" dirty="0">
                <a:solidFill>
                  <a:srgbClr val="0C1137"/>
                </a:solidFill>
                <a:latin typeface="Arial Black"/>
                <a:cs typeface="Arial Black"/>
              </a:rPr>
              <a:t>Framework</a:t>
            </a:r>
            <a:endParaRPr sz="950">
              <a:latin typeface="Arial Black"/>
              <a:cs typeface="Arial Black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5105400" y="3562350"/>
            <a:ext cx="1628775" cy="571500"/>
          </a:xfrm>
          <a:custGeom>
            <a:avLst/>
            <a:gdLst/>
            <a:ahLst/>
            <a:cxnLst/>
            <a:rect l="l" t="t" r="r" b="b"/>
            <a:pathLst>
              <a:path w="1628775" h="571500">
                <a:moveTo>
                  <a:pt x="1532508" y="0"/>
                </a:moveTo>
                <a:lnTo>
                  <a:pt x="95885" y="0"/>
                </a:lnTo>
                <a:lnTo>
                  <a:pt x="58547" y="7492"/>
                </a:lnTo>
                <a:lnTo>
                  <a:pt x="28066" y="27939"/>
                </a:lnTo>
                <a:lnTo>
                  <a:pt x="7492" y="58166"/>
                </a:lnTo>
                <a:lnTo>
                  <a:pt x="0" y="95250"/>
                </a:lnTo>
                <a:lnTo>
                  <a:pt x="0" y="476250"/>
                </a:lnTo>
                <a:lnTo>
                  <a:pt x="7492" y="513333"/>
                </a:lnTo>
                <a:lnTo>
                  <a:pt x="28066" y="543560"/>
                </a:lnTo>
                <a:lnTo>
                  <a:pt x="58547" y="564007"/>
                </a:lnTo>
                <a:lnTo>
                  <a:pt x="95885" y="571500"/>
                </a:lnTo>
                <a:lnTo>
                  <a:pt x="1532508" y="571500"/>
                </a:lnTo>
                <a:lnTo>
                  <a:pt x="1569847" y="564007"/>
                </a:lnTo>
                <a:lnTo>
                  <a:pt x="1600327" y="543560"/>
                </a:lnTo>
                <a:lnTo>
                  <a:pt x="1620901" y="513333"/>
                </a:lnTo>
                <a:lnTo>
                  <a:pt x="1628394" y="476250"/>
                </a:lnTo>
                <a:lnTo>
                  <a:pt x="1628394" y="95250"/>
                </a:lnTo>
                <a:lnTo>
                  <a:pt x="1620901" y="58166"/>
                </a:lnTo>
                <a:lnTo>
                  <a:pt x="1600327" y="27939"/>
                </a:lnTo>
                <a:lnTo>
                  <a:pt x="1569847" y="7492"/>
                </a:lnTo>
                <a:lnTo>
                  <a:pt x="1532508" y="0"/>
                </a:lnTo>
                <a:close/>
              </a:path>
            </a:pathLst>
          </a:custGeom>
          <a:solidFill>
            <a:srgbClr val="3943F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5297170" y="3739197"/>
            <a:ext cx="1271905" cy="19748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100" spc="-35" dirty="0">
                <a:solidFill>
                  <a:srgbClr val="FFFFFF"/>
                </a:solidFill>
                <a:latin typeface="Arial Black"/>
                <a:cs typeface="Arial Black"/>
              </a:rPr>
              <a:t>3)</a:t>
            </a:r>
            <a:r>
              <a:rPr sz="1100" spc="-220" dirty="0">
                <a:solidFill>
                  <a:srgbClr val="FFFFFF"/>
                </a:solidFill>
                <a:latin typeface="Arial Black"/>
                <a:cs typeface="Arial Black"/>
              </a:rPr>
              <a:t> </a:t>
            </a:r>
            <a:r>
              <a:rPr sz="1100" spc="-40" dirty="0">
                <a:solidFill>
                  <a:srgbClr val="FFFFFF"/>
                </a:solidFill>
                <a:latin typeface="Arial Black"/>
                <a:cs typeface="Arial Black"/>
              </a:rPr>
              <a:t>QA</a:t>
            </a:r>
            <a:r>
              <a:rPr sz="1100" spc="-120" dirty="0">
                <a:solidFill>
                  <a:srgbClr val="FFFFFF"/>
                </a:solidFill>
                <a:latin typeface="Arial Black"/>
                <a:cs typeface="Arial Black"/>
              </a:rPr>
              <a:t> </a:t>
            </a:r>
            <a:r>
              <a:rPr sz="1100" spc="-50" dirty="0">
                <a:solidFill>
                  <a:srgbClr val="FFFFFF"/>
                </a:solidFill>
                <a:latin typeface="Arial Black"/>
                <a:cs typeface="Arial Black"/>
              </a:rPr>
              <a:t>Engineering</a:t>
            </a:r>
            <a:endParaRPr sz="1100">
              <a:latin typeface="Arial Black"/>
              <a:cs typeface="Arial Black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7296150" y="3562350"/>
            <a:ext cx="1895475" cy="571500"/>
          </a:xfrm>
          <a:custGeom>
            <a:avLst/>
            <a:gdLst/>
            <a:ahLst/>
            <a:cxnLst/>
            <a:rect l="l" t="t" r="r" b="b"/>
            <a:pathLst>
              <a:path w="1895475" h="571500">
                <a:moveTo>
                  <a:pt x="1799335" y="0"/>
                </a:moveTo>
                <a:lnTo>
                  <a:pt x="95757" y="0"/>
                </a:lnTo>
                <a:lnTo>
                  <a:pt x="58547" y="7492"/>
                </a:lnTo>
                <a:lnTo>
                  <a:pt x="28067" y="27939"/>
                </a:lnTo>
                <a:lnTo>
                  <a:pt x="7493" y="58166"/>
                </a:lnTo>
                <a:lnTo>
                  <a:pt x="0" y="95250"/>
                </a:lnTo>
                <a:lnTo>
                  <a:pt x="0" y="476250"/>
                </a:lnTo>
                <a:lnTo>
                  <a:pt x="7493" y="513333"/>
                </a:lnTo>
                <a:lnTo>
                  <a:pt x="28067" y="543560"/>
                </a:lnTo>
                <a:lnTo>
                  <a:pt x="58547" y="564007"/>
                </a:lnTo>
                <a:lnTo>
                  <a:pt x="95757" y="571500"/>
                </a:lnTo>
                <a:lnTo>
                  <a:pt x="1799335" y="571500"/>
                </a:lnTo>
                <a:lnTo>
                  <a:pt x="1836674" y="564007"/>
                </a:lnTo>
                <a:lnTo>
                  <a:pt x="1867027" y="543560"/>
                </a:lnTo>
                <a:lnTo>
                  <a:pt x="1887601" y="513333"/>
                </a:lnTo>
                <a:lnTo>
                  <a:pt x="1895094" y="476250"/>
                </a:lnTo>
                <a:lnTo>
                  <a:pt x="1895094" y="95250"/>
                </a:lnTo>
                <a:lnTo>
                  <a:pt x="1887601" y="58166"/>
                </a:lnTo>
                <a:lnTo>
                  <a:pt x="1867027" y="27939"/>
                </a:lnTo>
                <a:lnTo>
                  <a:pt x="1836674" y="7492"/>
                </a:lnTo>
                <a:lnTo>
                  <a:pt x="1799335" y="0"/>
                </a:lnTo>
                <a:close/>
              </a:path>
            </a:pathLst>
          </a:custGeom>
          <a:solidFill>
            <a:srgbClr val="3943F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7598791" y="3655695"/>
            <a:ext cx="1311910" cy="35941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algn="ctr">
              <a:lnSpc>
                <a:spcPts val="1295"/>
              </a:lnSpc>
              <a:spcBef>
                <a:spcPts val="125"/>
              </a:spcBef>
            </a:pPr>
            <a:r>
              <a:rPr sz="1100" spc="-35" dirty="0">
                <a:solidFill>
                  <a:srgbClr val="FFFFFF"/>
                </a:solidFill>
                <a:latin typeface="Arial Black"/>
                <a:cs typeface="Arial Black"/>
              </a:rPr>
              <a:t>4)</a:t>
            </a:r>
            <a:r>
              <a:rPr sz="1100" spc="-190" dirty="0">
                <a:solidFill>
                  <a:srgbClr val="FFFFFF"/>
                </a:solidFill>
                <a:latin typeface="Arial Black"/>
                <a:cs typeface="Arial Black"/>
              </a:rPr>
              <a:t> </a:t>
            </a:r>
            <a:r>
              <a:rPr sz="1100" spc="-95" dirty="0">
                <a:solidFill>
                  <a:srgbClr val="FFFFFF"/>
                </a:solidFill>
                <a:latin typeface="Arial Black"/>
                <a:cs typeface="Arial Black"/>
              </a:rPr>
              <a:t>Business </a:t>
            </a:r>
            <a:r>
              <a:rPr sz="1100" dirty="0">
                <a:solidFill>
                  <a:srgbClr val="FFFFFF"/>
                </a:solidFill>
                <a:latin typeface="Arial Black"/>
                <a:cs typeface="Arial Black"/>
              </a:rPr>
              <a:t>&amp;</a:t>
            </a:r>
            <a:r>
              <a:rPr sz="1100" spc="-229" dirty="0">
                <a:solidFill>
                  <a:srgbClr val="FFFFFF"/>
                </a:solidFill>
                <a:latin typeface="Arial Black"/>
                <a:cs typeface="Arial Black"/>
              </a:rPr>
              <a:t> </a:t>
            </a:r>
            <a:r>
              <a:rPr sz="1100" spc="-25" dirty="0">
                <a:solidFill>
                  <a:srgbClr val="FFFFFF"/>
                </a:solidFill>
                <a:latin typeface="Arial Black"/>
                <a:cs typeface="Arial Black"/>
              </a:rPr>
              <a:t>Tech</a:t>
            </a:r>
            <a:endParaRPr sz="1100">
              <a:latin typeface="Arial Black"/>
              <a:cs typeface="Arial Black"/>
            </a:endParaRPr>
          </a:p>
          <a:p>
            <a:pPr marL="57785" algn="ctr">
              <a:lnSpc>
                <a:spcPts val="1295"/>
              </a:lnSpc>
            </a:pPr>
            <a:r>
              <a:rPr sz="1100" spc="-10" dirty="0">
                <a:solidFill>
                  <a:srgbClr val="FFFFFF"/>
                </a:solidFill>
                <a:latin typeface="Arial Black"/>
                <a:cs typeface="Arial Black"/>
              </a:rPr>
              <a:t>Consulting</a:t>
            </a:r>
            <a:endParaRPr sz="1100">
              <a:latin typeface="Arial Black"/>
              <a:cs typeface="Arial Black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423531" y="4305724"/>
            <a:ext cx="1664970" cy="949960"/>
          </a:xfrm>
          <a:prstGeom prst="rect">
            <a:avLst/>
          </a:prstGeom>
        </p:spPr>
        <p:txBody>
          <a:bodyPr vert="horz" wrap="square" lIns="0" tIns="5715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450"/>
              </a:spcBef>
            </a:pP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-</a:t>
            </a:r>
            <a:r>
              <a:rPr sz="950" spc="2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Process</a:t>
            </a:r>
            <a:r>
              <a:rPr sz="950" spc="6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-10" dirty="0">
                <a:solidFill>
                  <a:srgbClr val="0C1137"/>
                </a:solidFill>
                <a:latin typeface="Arial"/>
                <a:cs typeface="Arial"/>
              </a:rPr>
              <a:t>Intelligence,</a:t>
            </a:r>
            <a:endParaRPr sz="950"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360"/>
              </a:spcBef>
            </a:pPr>
            <a:r>
              <a:rPr sz="950" spc="10" dirty="0">
                <a:solidFill>
                  <a:srgbClr val="0C1137"/>
                </a:solidFill>
                <a:latin typeface="Arial"/>
                <a:cs typeface="Arial"/>
              </a:rPr>
              <a:t>Improvement,</a:t>
            </a:r>
            <a:r>
              <a:rPr sz="950" spc="32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10" dirty="0">
                <a:solidFill>
                  <a:srgbClr val="0C1137"/>
                </a:solidFill>
                <a:latin typeface="Arial"/>
                <a:cs typeface="Arial"/>
              </a:rPr>
              <a:t>&amp;</a:t>
            </a:r>
            <a:r>
              <a:rPr sz="950" spc="30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-10" dirty="0">
                <a:solidFill>
                  <a:srgbClr val="0C1137"/>
                </a:solidFill>
                <a:latin typeface="Arial"/>
                <a:cs typeface="Arial"/>
              </a:rPr>
              <a:t>Managment</a:t>
            </a:r>
            <a:endParaRPr sz="950"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365"/>
              </a:spcBef>
            </a:pP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-</a:t>
            </a:r>
            <a:r>
              <a:rPr sz="950" spc="11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Digital</a:t>
            </a:r>
            <a:r>
              <a:rPr sz="950" spc="114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-10" dirty="0">
                <a:solidFill>
                  <a:srgbClr val="0C1137"/>
                </a:solidFill>
                <a:latin typeface="Arial"/>
                <a:cs typeface="Arial"/>
              </a:rPr>
              <a:t>Evolution</a:t>
            </a:r>
            <a:endParaRPr sz="950"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135"/>
              </a:spcBef>
            </a:pP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-</a:t>
            </a:r>
            <a:r>
              <a:rPr sz="950" spc="114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Strategic</a:t>
            </a:r>
            <a:r>
              <a:rPr sz="950" spc="10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-10" dirty="0">
                <a:solidFill>
                  <a:srgbClr val="0C1137"/>
                </a:solidFill>
                <a:latin typeface="Arial"/>
                <a:cs typeface="Arial"/>
              </a:rPr>
              <a:t>Business</a:t>
            </a:r>
            <a:endParaRPr sz="950"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360"/>
              </a:spcBef>
            </a:pPr>
            <a:r>
              <a:rPr sz="950" spc="-10" dirty="0">
                <a:solidFill>
                  <a:srgbClr val="0C1137"/>
                </a:solidFill>
                <a:latin typeface="Arial"/>
                <a:cs typeface="Arial"/>
              </a:rPr>
              <a:t>Transformation</a:t>
            </a:r>
            <a:endParaRPr sz="950">
              <a:latin typeface="Arial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9629775" y="3552825"/>
            <a:ext cx="1695450" cy="581025"/>
          </a:xfrm>
          <a:custGeom>
            <a:avLst/>
            <a:gdLst/>
            <a:ahLst/>
            <a:cxnLst/>
            <a:rect l="l" t="t" r="r" b="b"/>
            <a:pathLst>
              <a:path w="1695450" h="581025">
                <a:moveTo>
                  <a:pt x="1599056" y="0"/>
                </a:moveTo>
                <a:lnTo>
                  <a:pt x="96011" y="0"/>
                </a:lnTo>
                <a:lnTo>
                  <a:pt x="58674" y="7620"/>
                </a:lnTo>
                <a:lnTo>
                  <a:pt x="28067" y="28321"/>
                </a:lnTo>
                <a:lnTo>
                  <a:pt x="7493" y="59181"/>
                </a:lnTo>
                <a:lnTo>
                  <a:pt x="0" y="96900"/>
                </a:lnTo>
                <a:lnTo>
                  <a:pt x="0" y="484124"/>
                </a:lnTo>
                <a:lnTo>
                  <a:pt x="7493" y="521843"/>
                </a:lnTo>
                <a:lnTo>
                  <a:pt x="28067" y="552704"/>
                </a:lnTo>
                <a:lnTo>
                  <a:pt x="58674" y="573405"/>
                </a:lnTo>
                <a:lnTo>
                  <a:pt x="96011" y="581025"/>
                </a:lnTo>
                <a:lnTo>
                  <a:pt x="1599056" y="581025"/>
                </a:lnTo>
                <a:lnTo>
                  <a:pt x="1636522" y="573405"/>
                </a:lnTo>
                <a:lnTo>
                  <a:pt x="1667002" y="552704"/>
                </a:lnTo>
                <a:lnTo>
                  <a:pt x="1687576" y="521843"/>
                </a:lnTo>
                <a:lnTo>
                  <a:pt x="1695196" y="484124"/>
                </a:lnTo>
                <a:lnTo>
                  <a:pt x="1695196" y="96900"/>
                </a:lnTo>
                <a:lnTo>
                  <a:pt x="1687576" y="59181"/>
                </a:lnTo>
                <a:lnTo>
                  <a:pt x="1667002" y="28321"/>
                </a:lnTo>
                <a:lnTo>
                  <a:pt x="1636522" y="7620"/>
                </a:lnTo>
                <a:lnTo>
                  <a:pt x="1599056" y="0"/>
                </a:lnTo>
                <a:close/>
              </a:path>
            </a:pathLst>
          </a:custGeom>
          <a:solidFill>
            <a:srgbClr val="3943F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10075544" y="3736022"/>
            <a:ext cx="826769" cy="19748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100" spc="-35" dirty="0">
                <a:solidFill>
                  <a:srgbClr val="FFFFFF"/>
                </a:solidFill>
                <a:latin typeface="Arial Black"/>
                <a:cs typeface="Arial Black"/>
              </a:rPr>
              <a:t>5)</a:t>
            </a:r>
            <a:r>
              <a:rPr sz="1100" spc="-155" dirty="0">
                <a:solidFill>
                  <a:srgbClr val="FFFFFF"/>
                </a:solidFill>
                <a:latin typeface="Arial Black"/>
                <a:cs typeface="Arial Black"/>
              </a:rPr>
              <a:t> </a:t>
            </a:r>
            <a:r>
              <a:rPr sz="1100" spc="-75" dirty="0">
                <a:solidFill>
                  <a:srgbClr val="FFFFFF"/>
                </a:solidFill>
                <a:latin typeface="Arial Black"/>
                <a:cs typeface="Arial Black"/>
              </a:rPr>
              <a:t>Stratis</a:t>
            </a:r>
            <a:r>
              <a:rPr sz="1100" spc="-140" dirty="0">
                <a:solidFill>
                  <a:srgbClr val="FFFFFF"/>
                </a:solidFill>
                <a:latin typeface="Arial Black"/>
                <a:cs typeface="Arial Black"/>
              </a:rPr>
              <a:t> </a:t>
            </a:r>
            <a:r>
              <a:rPr sz="1100" spc="-25" dirty="0">
                <a:solidFill>
                  <a:srgbClr val="FFFFFF"/>
                </a:solidFill>
                <a:latin typeface="Arial Black"/>
                <a:cs typeface="Arial Black"/>
              </a:rPr>
              <a:t>AI</a:t>
            </a:r>
            <a:endParaRPr sz="1100">
              <a:latin typeface="Arial Black"/>
              <a:cs typeface="Arial Black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9623806" y="4345680"/>
            <a:ext cx="1826260" cy="549910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/>
          <a:p>
            <a:pPr marR="635" algn="ctr">
              <a:lnSpc>
                <a:spcPct val="100000"/>
              </a:lnSpc>
              <a:spcBef>
                <a:spcPts val="300"/>
              </a:spcBef>
            </a:pP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-</a:t>
            </a:r>
            <a:r>
              <a:rPr sz="950" spc="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AI</a:t>
            </a:r>
            <a:r>
              <a:rPr sz="950" spc="-2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-10" dirty="0">
                <a:solidFill>
                  <a:srgbClr val="0C1137"/>
                </a:solidFill>
                <a:latin typeface="Arial"/>
                <a:cs typeface="Arial"/>
              </a:rPr>
              <a:t>Consulting</a:t>
            </a:r>
            <a:endParaRPr sz="950">
              <a:latin typeface="Arial"/>
              <a:cs typeface="Arial"/>
            </a:endParaRPr>
          </a:p>
          <a:p>
            <a:pPr marL="12700" marR="5080" algn="ctr">
              <a:lnSpc>
                <a:spcPts val="1430"/>
              </a:lnSpc>
              <a:spcBef>
                <a:spcPts val="15"/>
              </a:spcBef>
            </a:pPr>
            <a:r>
              <a:rPr sz="950" spc="10" dirty="0">
                <a:solidFill>
                  <a:srgbClr val="0C1137"/>
                </a:solidFill>
                <a:latin typeface="Arial"/>
                <a:cs typeface="Arial"/>
              </a:rPr>
              <a:t>-</a:t>
            </a:r>
            <a:r>
              <a:rPr sz="950" spc="20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10" dirty="0">
                <a:solidFill>
                  <a:srgbClr val="0C1137"/>
                </a:solidFill>
                <a:latin typeface="Arial"/>
                <a:cs typeface="Arial"/>
              </a:rPr>
              <a:t>Stratis</a:t>
            </a:r>
            <a:r>
              <a:rPr sz="950" spc="17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10" dirty="0">
                <a:solidFill>
                  <a:srgbClr val="0C1137"/>
                </a:solidFill>
                <a:latin typeface="Arial"/>
                <a:cs typeface="Arial"/>
              </a:rPr>
              <a:t>operations</a:t>
            </a:r>
            <a:r>
              <a:rPr sz="950" spc="160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-10" dirty="0">
                <a:solidFill>
                  <a:srgbClr val="0C1137"/>
                </a:solidFill>
                <a:latin typeface="Arial"/>
                <a:cs typeface="Arial"/>
              </a:rPr>
              <a:t>optimization </a:t>
            </a:r>
            <a:r>
              <a:rPr sz="950" dirty="0">
                <a:solidFill>
                  <a:srgbClr val="0C1137"/>
                </a:solidFill>
                <a:latin typeface="Arial"/>
                <a:cs typeface="Arial"/>
              </a:rPr>
              <a:t>AI</a:t>
            </a:r>
            <a:r>
              <a:rPr sz="950" spc="-15" dirty="0">
                <a:solidFill>
                  <a:srgbClr val="0C1137"/>
                </a:solidFill>
                <a:latin typeface="Arial"/>
                <a:cs typeface="Arial"/>
              </a:rPr>
              <a:t> </a:t>
            </a:r>
            <a:r>
              <a:rPr sz="950" spc="-10" dirty="0">
                <a:solidFill>
                  <a:srgbClr val="0C1137"/>
                </a:solidFill>
                <a:latin typeface="Arial"/>
                <a:cs typeface="Arial"/>
              </a:rPr>
              <a:t>framework</a:t>
            </a:r>
            <a:endParaRPr sz="950">
              <a:latin typeface="Arial"/>
              <a:cs typeface="Arial"/>
            </a:endParaRPr>
          </a:p>
        </p:txBody>
      </p:sp>
      <p:pic>
        <p:nvPicPr>
          <p:cNvPr id="21" name="object 21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85800" y="2085975"/>
            <a:ext cx="1562100" cy="1028700"/>
          </a:xfrm>
          <a:prstGeom prst="rect">
            <a:avLst/>
          </a:prstGeom>
        </p:spPr>
      </p:pic>
      <p:sp>
        <p:nvSpPr>
          <p:cNvPr id="22" name="object 22"/>
          <p:cNvSpPr txBox="1"/>
          <p:nvPr/>
        </p:nvSpPr>
        <p:spPr>
          <a:xfrm>
            <a:off x="838517" y="2610167"/>
            <a:ext cx="1235710" cy="36957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6350" algn="ctr">
              <a:lnSpc>
                <a:spcPct val="100000"/>
              </a:lnSpc>
              <a:spcBef>
                <a:spcPts val="125"/>
              </a:spcBef>
            </a:pPr>
            <a:r>
              <a:rPr sz="1100" dirty="0">
                <a:solidFill>
                  <a:srgbClr val="3943F9"/>
                </a:solidFill>
                <a:latin typeface="Arial"/>
                <a:cs typeface="Arial"/>
              </a:rPr>
              <a:t>Exploiting</a:t>
            </a:r>
            <a:r>
              <a:rPr sz="1100" spc="130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1100" spc="-25" dirty="0">
                <a:solidFill>
                  <a:srgbClr val="3943F9"/>
                </a:solidFill>
                <a:latin typeface="Arial"/>
                <a:cs typeface="Arial"/>
              </a:rPr>
              <a:t>the</a:t>
            </a:r>
            <a:endParaRPr sz="1100"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35"/>
              </a:spcBef>
            </a:pPr>
            <a:r>
              <a:rPr sz="1100" dirty="0">
                <a:solidFill>
                  <a:srgbClr val="3943F9"/>
                </a:solidFill>
                <a:latin typeface="Arial"/>
                <a:cs typeface="Arial"/>
              </a:rPr>
              <a:t>power</a:t>
            </a:r>
            <a:r>
              <a:rPr sz="1100" spc="130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3943F9"/>
                </a:solidFill>
                <a:latin typeface="Arial"/>
                <a:cs typeface="Arial"/>
              </a:rPr>
              <a:t>of</a:t>
            </a:r>
            <a:r>
              <a:rPr sz="1100" spc="175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3943F9"/>
                </a:solidFill>
                <a:latin typeface="Arial"/>
                <a:cs typeface="Arial"/>
              </a:rPr>
              <a:t>your</a:t>
            </a:r>
            <a:r>
              <a:rPr sz="1100" spc="85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1100" spc="-20" dirty="0">
                <a:solidFill>
                  <a:srgbClr val="3943F9"/>
                </a:solidFill>
                <a:latin typeface="Arial"/>
                <a:cs typeface="Arial"/>
              </a:rPr>
              <a:t>data</a:t>
            </a:r>
            <a:endParaRPr sz="1100">
              <a:latin typeface="Arial"/>
              <a:cs typeface="Arial"/>
            </a:endParaRPr>
          </a:p>
        </p:txBody>
      </p:sp>
      <p:pic>
        <p:nvPicPr>
          <p:cNvPr id="23" name="object 23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933700" y="2124075"/>
            <a:ext cx="1571625" cy="952500"/>
          </a:xfrm>
          <a:prstGeom prst="rect">
            <a:avLst/>
          </a:prstGeom>
        </p:spPr>
      </p:pic>
      <p:sp>
        <p:nvSpPr>
          <p:cNvPr id="24" name="object 24"/>
          <p:cNvSpPr txBox="1"/>
          <p:nvPr/>
        </p:nvSpPr>
        <p:spPr>
          <a:xfrm>
            <a:off x="3058541" y="2572448"/>
            <a:ext cx="1247140" cy="36893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125"/>
              </a:spcBef>
            </a:pPr>
            <a:r>
              <a:rPr sz="1100" dirty="0">
                <a:solidFill>
                  <a:srgbClr val="3943F9"/>
                </a:solidFill>
                <a:latin typeface="Arial"/>
                <a:cs typeface="Arial"/>
              </a:rPr>
              <a:t>Building</a:t>
            </a:r>
            <a:r>
              <a:rPr sz="1100" spc="125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1100" spc="-10" dirty="0">
                <a:solidFill>
                  <a:srgbClr val="3943F9"/>
                </a:solidFill>
                <a:latin typeface="Arial"/>
                <a:cs typeface="Arial"/>
              </a:rPr>
              <a:t>technology</a:t>
            </a:r>
            <a:endParaRPr sz="1100">
              <a:latin typeface="Arial"/>
              <a:cs typeface="Arial"/>
            </a:endParaRPr>
          </a:p>
          <a:p>
            <a:pPr marR="64135" algn="r">
              <a:lnSpc>
                <a:spcPct val="100000"/>
              </a:lnSpc>
              <a:spcBef>
                <a:spcPts val="35"/>
              </a:spcBef>
            </a:pPr>
            <a:r>
              <a:rPr sz="1100" dirty="0">
                <a:solidFill>
                  <a:srgbClr val="3943F9"/>
                </a:solidFill>
                <a:latin typeface="Arial"/>
                <a:cs typeface="Arial"/>
              </a:rPr>
              <a:t>solutions</a:t>
            </a:r>
            <a:r>
              <a:rPr sz="1100" spc="130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3943F9"/>
                </a:solidFill>
                <a:latin typeface="Arial"/>
                <a:cs typeface="Arial"/>
              </a:rPr>
              <a:t>for</a:t>
            </a:r>
            <a:r>
              <a:rPr sz="1100" spc="240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1100" spc="-25" dirty="0">
                <a:solidFill>
                  <a:srgbClr val="3943F9"/>
                </a:solidFill>
                <a:latin typeface="Arial"/>
                <a:cs typeface="Arial"/>
              </a:rPr>
              <a:t>you</a:t>
            </a:r>
            <a:endParaRPr sz="1100">
              <a:latin typeface="Arial"/>
              <a:cs typeface="Arial"/>
            </a:endParaRPr>
          </a:p>
        </p:txBody>
      </p:sp>
      <p:pic>
        <p:nvPicPr>
          <p:cNvPr id="25" name="object 2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143500" y="2124075"/>
            <a:ext cx="1562100" cy="952500"/>
          </a:xfrm>
          <a:prstGeom prst="rect">
            <a:avLst/>
          </a:prstGeom>
        </p:spPr>
      </p:pic>
      <p:sp>
        <p:nvSpPr>
          <p:cNvPr id="26" name="object 26"/>
          <p:cNvSpPr txBox="1"/>
          <p:nvPr/>
        </p:nvSpPr>
        <p:spPr>
          <a:xfrm>
            <a:off x="5241925" y="2572448"/>
            <a:ext cx="1320165" cy="36893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4604" algn="ctr">
              <a:lnSpc>
                <a:spcPct val="100000"/>
              </a:lnSpc>
              <a:spcBef>
                <a:spcPts val="125"/>
              </a:spcBef>
            </a:pPr>
            <a:r>
              <a:rPr sz="1100" dirty="0">
                <a:solidFill>
                  <a:srgbClr val="3943F9"/>
                </a:solidFill>
                <a:latin typeface="Arial"/>
                <a:cs typeface="Arial"/>
              </a:rPr>
              <a:t>Testing</a:t>
            </a:r>
            <a:r>
              <a:rPr sz="1100" spc="-10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1100" spc="-20" dirty="0">
                <a:solidFill>
                  <a:srgbClr val="3943F9"/>
                </a:solidFill>
                <a:latin typeface="Arial"/>
                <a:cs typeface="Arial"/>
              </a:rPr>
              <a:t>your</a:t>
            </a:r>
            <a:endParaRPr sz="1100"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35"/>
              </a:spcBef>
            </a:pPr>
            <a:r>
              <a:rPr sz="1100" dirty="0">
                <a:solidFill>
                  <a:srgbClr val="3943F9"/>
                </a:solidFill>
                <a:latin typeface="Arial"/>
                <a:cs typeface="Arial"/>
              </a:rPr>
              <a:t>technology</a:t>
            </a:r>
            <a:r>
              <a:rPr sz="1100" spc="195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1100" spc="-10" dirty="0">
                <a:solidFill>
                  <a:srgbClr val="3943F9"/>
                </a:solidFill>
                <a:latin typeface="Arial"/>
                <a:cs typeface="Arial"/>
              </a:rPr>
              <a:t>solutions</a:t>
            </a:r>
            <a:endParaRPr sz="1100">
              <a:latin typeface="Arial"/>
              <a:cs typeface="Arial"/>
            </a:endParaRPr>
          </a:p>
        </p:txBody>
      </p:sp>
      <p:pic>
        <p:nvPicPr>
          <p:cNvPr id="27" name="object 2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7296150" y="2047875"/>
            <a:ext cx="1895475" cy="1104900"/>
          </a:xfrm>
          <a:prstGeom prst="rect">
            <a:avLst/>
          </a:prstGeom>
        </p:spPr>
      </p:pic>
      <p:sp>
        <p:nvSpPr>
          <p:cNvPr id="28" name="object 28"/>
          <p:cNvSpPr txBox="1"/>
          <p:nvPr/>
        </p:nvSpPr>
        <p:spPr>
          <a:xfrm>
            <a:off x="7429118" y="2590228"/>
            <a:ext cx="1658620" cy="480059"/>
          </a:xfrm>
          <a:prstGeom prst="rect">
            <a:avLst/>
          </a:prstGeom>
        </p:spPr>
        <p:txBody>
          <a:bodyPr vert="horz" wrap="square" lIns="0" tIns="8255" rIns="0" bIns="0" rtlCol="0">
            <a:spAutoFit/>
          </a:bodyPr>
          <a:lstStyle/>
          <a:p>
            <a:pPr marL="12700" marR="5080" indent="-7620" algn="ctr">
              <a:lnSpc>
                <a:spcPct val="105400"/>
              </a:lnSpc>
              <a:spcBef>
                <a:spcPts val="65"/>
              </a:spcBef>
            </a:pPr>
            <a:r>
              <a:rPr sz="950" dirty="0">
                <a:solidFill>
                  <a:srgbClr val="3943F9"/>
                </a:solidFill>
                <a:latin typeface="Arial"/>
                <a:cs typeface="Arial"/>
              </a:rPr>
              <a:t>Define</a:t>
            </a:r>
            <a:r>
              <a:rPr sz="950" spc="340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3943F9"/>
                </a:solidFill>
                <a:latin typeface="Arial"/>
                <a:cs typeface="Arial"/>
              </a:rPr>
              <a:t>your</a:t>
            </a:r>
            <a:r>
              <a:rPr sz="950" spc="345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3943F9"/>
                </a:solidFill>
                <a:latin typeface="Arial"/>
                <a:cs typeface="Arial"/>
              </a:rPr>
              <a:t>innovation</a:t>
            </a:r>
            <a:r>
              <a:rPr sz="950" spc="335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950" spc="-50" dirty="0">
                <a:solidFill>
                  <a:srgbClr val="3943F9"/>
                </a:solidFill>
                <a:latin typeface="Arial"/>
                <a:cs typeface="Arial"/>
              </a:rPr>
              <a:t>&amp; </a:t>
            </a:r>
            <a:r>
              <a:rPr sz="950" dirty="0">
                <a:solidFill>
                  <a:srgbClr val="3943F9"/>
                </a:solidFill>
                <a:latin typeface="Arial"/>
                <a:cs typeface="Arial"/>
              </a:rPr>
              <a:t>optimization</a:t>
            </a:r>
            <a:r>
              <a:rPr sz="950" spc="125" dirty="0">
                <a:solidFill>
                  <a:srgbClr val="3943F9"/>
                </a:solidFill>
                <a:latin typeface="Arial"/>
                <a:cs typeface="Arial"/>
              </a:rPr>
              <a:t>  </a:t>
            </a:r>
            <a:r>
              <a:rPr sz="950" dirty="0">
                <a:solidFill>
                  <a:srgbClr val="3943F9"/>
                </a:solidFill>
                <a:latin typeface="Arial"/>
                <a:cs typeface="Arial"/>
              </a:rPr>
              <a:t>strategies,</a:t>
            </a:r>
            <a:r>
              <a:rPr sz="950" spc="480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950" spc="-20" dirty="0">
                <a:solidFill>
                  <a:srgbClr val="3943F9"/>
                </a:solidFill>
                <a:latin typeface="Arial"/>
                <a:cs typeface="Arial"/>
              </a:rPr>
              <a:t>plan </a:t>
            </a:r>
            <a:r>
              <a:rPr sz="950" dirty="0">
                <a:solidFill>
                  <a:srgbClr val="3943F9"/>
                </a:solidFill>
                <a:latin typeface="Arial"/>
                <a:cs typeface="Arial"/>
              </a:rPr>
              <a:t>and</a:t>
            </a:r>
            <a:r>
              <a:rPr sz="950" spc="175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950" spc="-10" dirty="0">
                <a:solidFill>
                  <a:srgbClr val="3943F9"/>
                </a:solidFill>
                <a:latin typeface="Arial"/>
                <a:cs typeface="Arial"/>
              </a:rPr>
              <a:t>projects</a:t>
            </a:r>
            <a:endParaRPr sz="950">
              <a:latin typeface="Arial"/>
              <a:cs typeface="Arial"/>
            </a:endParaRPr>
          </a:p>
        </p:txBody>
      </p:sp>
      <p:pic>
        <p:nvPicPr>
          <p:cNvPr id="29" name="object 2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9734550" y="2124075"/>
            <a:ext cx="1562100" cy="952500"/>
          </a:xfrm>
          <a:prstGeom prst="rect">
            <a:avLst/>
          </a:prstGeom>
        </p:spPr>
      </p:pic>
      <p:sp>
        <p:nvSpPr>
          <p:cNvPr id="30" name="object 30"/>
          <p:cNvSpPr txBox="1"/>
          <p:nvPr/>
        </p:nvSpPr>
        <p:spPr>
          <a:xfrm>
            <a:off x="9858756" y="2552700"/>
            <a:ext cx="1353185" cy="479425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12700" marR="5080" indent="3175" algn="ctr">
              <a:lnSpc>
                <a:spcPct val="105400"/>
              </a:lnSpc>
              <a:spcBef>
                <a:spcPts val="60"/>
              </a:spcBef>
            </a:pPr>
            <a:r>
              <a:rPr sz="950" dirty="0">
                <a:solidFill>
                  <a:srgbClr val="3943F9"/>
                </a:solidFill>
                <a:latin typeface="Arial"/>
                <a:cs typeface="Arial"/>
              </a:rPr>
              <a:t>Become</a:t>
            </a:r>
            <a:r>
              <a:rPr sz="950" spc="114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3943F9"/>
                </a:solidFill>
                <a:latin typeface="Arial"/>
                <a:cs typeface="Arial"/>
              </a:rPr>
              <a:t>an</a:t>
            </a:r>
            <a:r>
              <a:rPr sz="950" spc="130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3943F9"/>
                </a:solidFill>
                <a:latin typeface="Arial"/>
                <a:cs typeface="Arial"/>
              </a:rPr>
              <a:t>AI</a:t>
            </a:r>
            <a:r>
              <a:rPr sz="950" spc="65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950" spc="-10" dirty="0">
                <a:solidFill>
                  <a:srgbClr val="3943F9"/>
                </a:solidFill>
                <a:latin typeface="Arial"/>
                <a:cs typeface="Arial"/>
              </a:rPr>
              <a:t>powered </a:t>
            </a:r>
            <a:r>
              <a:rPr sz="950" dirty="0">
                <a:solidFill>
                  <a:srgbClr val="3943F9"/>
                </a:solidFill>
                <a:latin typeface="Arial"/>
                <a:cs typeface="Arial"/>
              </a:rPr>
              <a:t>smarter</a:t>
            </a:r>
            <a:r>
              <a:rPr sz="950" spc="235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950" dirty="0">
                <a:solidFill>
                  <a:srgbClr val="3943F9"/>
                </a:solidFill>
                <a:latin typeface="Arial"/>
                <a:cs typeface="Arial"/>
              </a:rPr>
              <a:t>&amp;</a:t>
            </a:r>
            <a:r>
              <a:rPr sz="950" spc="240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950" spc="-20" dirty="0">
                <a:solidFill>
                  <a:srgbClr val="3943F9"/>
                </a:solidFill>
                <a:latin typeface="Arial"/>
                <a:cs typeface="Arial"/>
              </a:rPr>
              <a:t>more </a:t>
            </a:r>
            <a:r>
              <a:rPr sz="950" dirty="0">
                <a:solidFill>
                  <a:srgbClr val="3943F9"/>
                </a:solidFill>
                <a:latin typeface="Arial"/>
                <a:cs typeface="Arial"/>
              </a:rPr>
              <a:t>productive</a:t>
            </a:r>
            <a:r>
              <a:rPr sz="950" spc="490" dirty="0">
                <a:solidFill>
                  <a:srgbClr val="3943F9"/>
                </a:solidFill>
                <a:latin typeface="Arial"/>
                <a:cs typeface="Arial"/>
              </a:rPr>
              <a:t> </a:t>
            </a:r>
            <a:r>
              <a:rPr sz="950" spc="-10" dirty="0">
                <a:solidFill>
                  <a:srgbClr val="3943F9"/>
                </a:solidFill>
                <a:latin typeface="Arial"/>
                <a:cs typeface="Arial"/>
              </a:rPr>
              <a:t>organization</a:t>
            </a:r>
            <a:endParaRPr sz="950">
              <a:latin typeface="Arial"/>
              <a:cs typeface="Arial"/>
            </a:endParaRPr>
          </a:p>
        </p:txBody>
      </p:sp>
      <p:grpSp>
        <p:nvGrpSpPr>
          <p:cNvPr id="31" name="object 31"/>
          <p:cNvGrpSpPr/>
          <p:nvPr/>
        </p:nvGrpSpPr>
        <p:grpSpPr>
          <a:xfrm>
            <a:off x="1381125" y="3190875"/>
            <a:ext cx="9229725" cy="276225"/>
            <a:chOff x="1381125" y="3190875"/>
            <a:chExt cx="9229725" cy="276225"/>
          </a:xfrm>
        </p:grpSpPr>
        <p:pic>
          <p:nvPicPr>
            <p:cNvPr id="32" name="object 3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381125" y="3190875"/>
              <a:ext cx="171450" cy="276225"/>
            </a:xfrm>
            <a:prstGeom prst="rect">
              <a:avLst/>
            </a:prstGeom>
          </p:spPr>
        </p:pic>
        <p:pic>
          <p:nvPicPr>
            <p:cNvPr id="33" name="object 3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638550" y="3200400"/>
              <a:ext cx="161925" cy="266700"/>
            </a:xfrm>
            <a:prstGeom prst="rect">
              <a:avLst/>
            </a:prstGeom>
          </p:spPr>
        </p:pic>
        <p:pic>
          <p:nvPicPr>
            <p:cNvPr id="34" name="object 34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838825" y="3190875"/>
              <a:ext cx="171450" cy="276225"/>
            </a:xfrm>
            <a:prstGeom prst="rect">
              <a:avLst/>
            </a:prstGeom>
          </p:spPr>
        </p:pic>
        <p:pic>
          <p:nvPicPr>
            <p:cNvPr id="35" name="object 3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162925" y="3190875"/>
              <a:ext cx="171450" cy="276225"/>
            </a:xfrm>
            <a:prstGeom prst="rect">
              <a:avLst/>
            </a:prstGeom>
          </p:spPr>
        </p:pic>
        <p:pic>
          <p:nvPicPr>
            <p:cNvPr id="36" name="object 3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0439400" y="3200400"/>
              <a:ext cx="171450" cy="266700"/>
            </a:xfrm>
            <a:prstGeom prst="rect">
              <a:avLst/>
            </a:prstGeom>
          </p:spPr>
        </p:pic>
      </p:grpSp>
      <p:sp>
        <p:nvSpPr>
          <p:cNvPr id="37" name="Elipse 36">
            <a:extLst>
              <a:ext uri="{FF2B5EF4-FFF2-40B4-BE49-F238E27FC236}">
                <a16:creationId xmlns:a16="http://schemas.microsoft.com/office/drawing/2014/main" id="{8BA84FCE-B811-9DE9-F7F7-DA8D96FDCA64}"/>
              </a:ext>
            </a:extLst>
          </p:cNvPr>
          <p:cNvSpPr/>
          <p:nvPr/>
        </p:nvSpPr>
        <p:spPr>
          <a:xfrm>
            <a:off x="4669302" y="1741267"/>
            <a:ext cx="2502095" cy="4446172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A0CDF8F2-55C8-BE28-0F9D-2566568D12A6}"/>
              </a:ext>
            </a:extLst>
          </p:cNvPr>
          <p:cNvSpPr/>
          <p:nvPr/>
        </p:nvSpPr>
        <p:spPr>
          <a:xfrm>
            <a:off x="4814275" y="1600200"/>
            <a:ext cx="2343834" cy="479825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318436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F485B6-D26A-6700-E688-C60F3D5637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áfico 12">
            <a:extLst>
              <a:ext uri="{FF2B5EF4-FFF2-40B4-BE49-F238E27FC236}">
                <a16:creationId xmlns:a16="http://schemas.microsoft.com/office/drawing/2014/main" id="{DEC766F0-6931-82FB-99A9-190634E7ADA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1446" t="2" b="-562"/>
          <a:stretch/>
        </p:blipFill>
        <p:spPr>
          <a:xfrm>
            <a:off x="5913707" y="1922089"/>
            <a:ext cx="5228750" cy="3720771"/>
          </a:xfrm>
          <a:prstGeom prst="rect">
            <a:avLst/>
          </a:prstGeom>
        </p:spPr>
      </p:pic>
      <p:pic>
        <p:nvPicPr>
          <p:cNvPr id="40" name="Imagen 39" descr="Icono&#10;&#10;El contenido generado por IA puede ser incorrecto.">
            <a:extLst>
              <a:ext uri="{FF2B5EF4-FFF2-40B4-BE49-F238E27FC236}">
                <a16:creationId xmlns:a16="http://schemas.microsoft.com/office/drawing/2014/main" id="{CE1169EA-804D-E70A-435D-325E7288E9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1152" y="2221811"/>
            <a:ext cx="2221105" cy="2213524"/>
          </a:xfrm>
          <a:prstGeom prst="rect">
            <a:avLst/>
          </a:prstGeom>
        </p:spPr>
      </p:pic>
      <p:graphicFrame>
        <p:nvGraphicFramePr>
          <p:cNvPr id="1210" name="think-cell data - do not delete" hidden="1">
            <a:extLst>
              <a:ext uri="{FF2B5EF4-FFF2-40B4-BE49-F238E27FC236}">
                <a16:creationId xmlns:a16="http://schemas.microsoft.com/office/drawing/2014/main" id="{440BBEB8-B3EA-3B85-806B-8A2F2227D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2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0BBEB8-B3EA-3B85-806B-8A2F2227D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402F8DAA-4363-A8AD-6C1A-68FAE8B6D2A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CD5EE6-B07D-46D8-B98F-6FBF37506E8E}" type="slidenum">
              <a:rPr kumimoji="0" lang="en-US" sz="1200" b="0" i="0" u="none" strike="noStrike" kern="1200" cap="none" spc="0" normalizeH="0" baseline="0" smtClean="0">
                <a:ln>
                  <a:noFill/>
                </a:ln>
                <a:solidFill>
                  <a:srgbClr val="FF8367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dirty="0">
              <a:ln>
                <a:noFill/>
              </a:ln>
              <a:solidFill>
                <a:srgbClr val="FF8367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500E86EF-F33F-7446-3BBC-329AFEAAD34E}"/>
              </a:ext>
            </a:extLst>
          </p:cNvPr>
          <p:cNvSpPr txBox="1">
            <a:spLocks/>
          </p:cNvSpPr>
          <p:nvPr/>
        </p:nvSpPr>
        <p:spPr>
          <a:xfrm>
            <a:off x="525657" y="230882"/>
            <a:ext cx="10473176" cy="369332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es-ES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20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rgbClr val="FF8367"/>
                    </a:gs>
                    <a:gs pos="85000">
                      <a:srgbClr val="FF2E00"/>
                    </a:gs>
                  </a:gsLst>
                  <a:lin ang="0" scaled="1"/>
                </a:gradFill>
                <a:effectLst/>
                <a:uLnTx/>
                <a:uFillTx/>
                <a:latin typeface="Open Sans ExtraBold"/>
                <a:ea typeface="Open Sans ExtraBold"/>
                <a:cs typeface="Open Sans ExtraBold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>
                <a:solidFill>
                  <a:srgbClr val="F86F35"/>
                </a:solidFill>
              </a:rPr>
              <a:t>STRATIS AGILE QA-AI ENGINEERING</a:t>
            </a:r>
            <a:endParaRPr lang="en-US" dirty="0"/>
          </a:p>
        </p:txBody>
      </p:sp>
      <p:grpSp>
        <p:nvGrpSpPr>
          <p:cNvPr id="1375" name="Group 1374">
            <a:extLst>
              <a:ext uri="{FF2B5EF4-FFF2-40B4-BE49-F238E27FC236}">
                <a16:creationId xmlns:a16="http://schemas.microsoft.com/office/drawing/2014/main" id="{499C8496-C75A-4D4A-B810-7DA157A1C7A0}"/>
              </a:ext>
            </a:extLst>
          </p:cNvPr>
          <p:cNvGrpSpPr/>
          <p:nvPr/>
        </p:nvGrpSpPr>
        <p:grpSpPr>
          <a:xfrm>
            <a:off x="2224137" y="913614"/>
            <a:ext cx="659794" cy="265088"/>
            <a:chOff x="1139602" y="1220047"/>
            <a:chExt cx="659794" cy="265088"/>
          </a:xfrm>
        </p:grpSpPr>
        <p:sp>
          <p:nvSpPr>
            <p:cNvPr id="1537" name="Elipse 4">
              <a:extLst>
                <a:ext uri="{FF2B5EF4-FFF2-40B4-BE49-F238E27FC236}">
                  <a16:creationId xmlns:a16="http://schemas.microsoft.com/office/drawing/2014/main" id="{5E0FF2C4-13CA-56EE-7990-242EF520DA63}"/>
                </a:ext>
              </a:extLst>
            </p:cNvPr>
            <p:cNvSpPr/>
            <p:nvPr/>
          </p:nvSpPr>
          <p:spPr>
            <a:xfrm>
              <a:off x="1139602" y="1220047"/>
              <a:ext cx="265088" cy="265088"/>
            </a:xfrm>
            <a:prstGeom prst="ellipse">
              <a:avLst/>
            </a:prstGeom>
            <a:solidFill>
              <a:srgbClr val="0111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MX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j-lt"/>
                  <a:ea typeface="Open Sans" panose="020B0606030504020204" pitchFamily="34" charset="0"/>
                  <a:cs typeface="Calibri" panose="020F0502020204030204" pitchFamily="34" charset="0"/>
                </a:rPr>
                <a:t>A</a:t>
              </a:r>
            </a:p>
          </p:txBody>
        </p:sp>
        <p:pic>
          <p:nvPicPr>
            <p:cNvPr id="1556" name="Graphic 1555">
              <a:extLst>
                <a:ext uri="{FF2B5EF4-FFF2-40B4-BE49-F238E27FC236}">
                  <a16:creationId xmlns:a16="http://schemas.microsoft.com/office/drawing/2014/main" id="{49915F7E-6F8B-F225-55C4-CBD1C36D3026}"/>
                </a:ext>
              </a:extLst>
            </p:cNvPr>
            <p:cNvPicPr>
              <a:picLocks/>
            </p:cNvPicPr>
            <p:nvPr>
              <p:custDataLst>
                <p:tags r:id="rId3"/>
              </p:custDataLst>
            </p:nvPr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546983" y="1220047"/>
              <a:ext cx="252413" cy="252413"/>
            </a:xfrm>
            <a:prstGeom prst="rect">
              <a:avLst/>
            </a:prstGeom>
          </p:spPr>
        </p:pic>
      </p:grpSp>
      <p:grpSp>
        <p:nvGrpSpPr>
          <p:cNvPr id="2" name="Grupo 1">
            <a:extLst>
              <a:ext uri="{FF2B5EF4-FFF2-40B4-BE49-F238E27FC236}">
                <a16:creationId xmlns:a16="http://schemas.microsoft.com/office/drawing/2014/main" id="{2B763869-1C23-9592-8AB8-E66B14E59A16}"/>
              </a:ext>
            </a:extLst>
          </p:cNvPr>
          <p:cNvGrpSpPr/>
          <p:nvPr/>
        </p:nvGrpSpPr>
        <p:grpSpPr>
          <a:xfrm>
            <a:off x="3081868" y="677274"/>
            <a:ext cx="1460152" cy="737769"/>
            <a:chOff x="3224122" y="983707"/>
            <a:chExt cx="1460152" cy="737769"/>
          </a:xfrm>
          <a:solidFill>
            <a:srgbClr val="3B43FB"/>
          </a:solidFill>
        </p:grpSpPr>
        <p:sp>
          <p:nvSpPr>
            <p:cNvPr id="1367" name="Freeform 45">
              <a:extLst>
                <a:ext uri="{FF2B5EF4-FFF2-40B4-BE49-F238E27FC236}">
                  <a16:creationId xmlns:a16="http://schemas.microsoft.com/office/drawing/2014/main" id="{8623176E-C224-5BAF-6C66-332C06ABF8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4122" y="983707"/>
              <a:ext cx="1460152" cy="737769"/>
            </a:xfrm>
            <a:custGeom>
              <a:avLst/>
              <a:gdLst>
                <a:gd name="T0" fmla="*/ 3876 w 4081"/>
                <a:gd name="T1" fmla="*/ 2428 h 2429"/>
                <a:gd name="T2" fmla="*/ 204 w 4081"/>
                <a:gd name="T3" fmla="*/ 2428 h 2429"/>
                <a:gd name="T4" fmla="*/ 204 w 4081"/>
                <a:gd name="T5" fmla="*/ 2428 h 2429"/>
                <a:gd name="T6" fmla="*/ 0 w 4081"/>
                <a:gd name="T7" fmla="*/ 2225 h 2429"/>
                <a:gd name="T8" fmla="*/ 0 w 4081"/>
                <a:gd name="T9" fmla="*/ 204 h 2429"/>
                <a:gd name="T10" fmla="*/ 0 w 4081"/>
                <a:gd name="T11" fmla="*/ 204 h 2429"/>
                <a:gd name="T12" fmla="*/ 204 w 4081"/>
                <a:gd name="T13" fmla="*/ 0 h 2429"/>
                <a:gd name="T14" fmla="*/ 3876 w 4081"/>
                <a:gd name="T15" fmla="*/ 0 h 2429"/>
                <a:gd name="T16" fmla="*/ 3876 w 4081"/>
                <a:gd name="T17" fmla="*/ 0 h 2429"/>
                <a:gd name="T18" fmla="*/ 4080 w 4081"/>
                <a:gd name="T19" fmla="*/ 204 h 2429"/>
                <a:gd name="T20" fmla="*/ 4080 w 4081"/>
                <a:gd name="T21" fmla="*/ 2225 h 2429"/>
                <a:gd name="T22" fmla="*/ 4080 w 4081"/>
                <a:gd name="T23" fmla="*/ 2225 h 2429"/>
                <a:gd name="T24" fmla="*/ 3876 w 4081"/>
                <a:gd name="T25" fmla="*/ 2428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81" h="2429">
                  <a:moveTo>
                    <a:pt x="3876" y="2428"/>
                  </a:moveTo>
                  <a:lnTo>
                    <a:pt x="204" y="2428"/>
                  </a:lnTo>
                  <a:lnTo>
                    <a:pt x="204" y="2428"/>
                  </a:lnTo>
                  <a:cubicBezTo>
                    <a:pt x="92" y="2428"/>
                    <a:pt x="0" y="2337"/>
                    <a:pt x="0" y="2225"/>
                  </a:cubicBezTo>
                  <a:lnTo>
                    <a:pt x="0" y="204"/>
                  </a:lnTo>
                  <a:lnTo>
                    <a:pt x="0" y="204"/>
                  </a:lnTo>
                  <a:cubicBezTo>
                    <a:pt x="0" y="91"/>
                    <a:pt x="92" y="0"/>
                    <a:pt x="204" y="0"/>
                  </a:cubicBezTo>
                  <a:lnTo>
                    <a:pt x="3876" y="0"/>
                  </a:lnTo>
                  <a:lnTo>
                    <a:pt x="3876" y="0"/>
                  </a:lnTo>
                  <a:cubicBezTo>
                    <a:pt x="3988" y="0"/>
                    <a:pt x="4080" y="91"/>
                    <a:pt x="4080" y="204"/>
                  </a:cubicBezTo>
                  <a:lnTo>
                    <a:pt x="4080" y="2225"/>
                  </a:lnTo>
                  <a:lnTo>
                    <a:pt x="4080" y="2225"/>
                  </a:lnTo>
                  <a:cubicBezTo>
                    <a:pt x="4080" y="2337"/>
                    <a:pt x="3988" y="2428"/>
                    <a:pt x="3876" y="2428"/>
                  </a:cubicBezTo>
                </a:path>
              </a:pathLst>
            </a:custGeom>
            <a:solidFill>
              <a:schemeClr val="bg1"/>
            </a:solidFill>
            <a:ln>
              <a:solidFill>
                <a:srgbClr val="3B43FB"/>
              </a:solidFill>
            </a:ln>
            <a:effectLst/>
          </p:spPr>
          <p:txBody>
            <a:bodyPr wrap="none" anchor="ctr"/>
            <a:lstStyle/>
            <a:p>
              <a:endParaRPr lang="en-US" sz="3265" dirty="0">
                <a:solidFill>
                  <a:schemeClr val="accent6">
                    <a:lumMod val="40000"/>
                    <a:lumOff val="60000"/>
                  </a:schemeClr>
                </a:solidFill>
                <a:latin typeface="DM Sans" pitchFamily="2" charset="77"/>
              </a:endParaRPr>
            </a:p>
          </p:txBody>
        </p:sp>
        <p:sp>
          <p:nvSpPr>
            <p:cNvPr id="1368" name="TextBox 46">
              <a:extLst>
                <a:ext uri="{FF2B5EF4-FFF2-40B4-BE49-F238E27FC236}">
                  <a16:creationId xmlns:a16="http://schemas.microsoft.com/office/drawing/2014/main" id="{A81EBAD7-F83D-C031-7F60-7A2E197EDBC6}"/>
                </a:ext>
              </a:extLst>
            </p:cNvPr>
            <p:cNvSpPr txBox="1"/>
            <p:nvPr/>
          </p:nvSpPr>
          <p:spPr>
            <a:xfrm>
              <a:off x="3259310" y="1004575"/>
              <a:ext cx="1395413" cy="4001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1000" b="1" spc="-15" dirty="0">
                  <a:solidFill>
                    <a:srgbClr val="3B43FB"/>
                  </a:solidFill>
                  <a:latin typeface="Open Sans"/>
                  <a:ea typeface="Open Sans"/>
                  <a:cs typeface="Open Sans"/>
                </a:rPr>
                <a:t>Defect Escape Rate</a:t>
              </a:r>
            </a:p>
            <a:p>
              <a:pPr algn="ctr">
                <a:lnSpc>
                  <a:spcPts val="1200"/>
                </a:lnSpc>
              </a:pPr>
              <a:endParaRPr lang="en-US" sz="1000" b="1" spc="-15" dirty="0">
                <a:solidFill>
                  <a:srgbClr val="3B43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69" name="TextBox 45">
              <a:extLst>
                <a:ext uri="{FF2B5EF4-FFF2-40B4-BE49-F238E27FC236}">
                  <a16:creationId xmlns:a16="http://schemas.microsoft.com/office/drawing/2014/main" id="{AEC344AE-311C-2DFF-C434-8E7761649EE2}"/>
                </a:ext>
              </a:extLst>
            </p:cNvPr>
            <p:cNvSpPr txBox="1"/>
            <p:nvPr/>
          </p:nvSpPr>
          <p:spPr>
            <a:xfrm>
              <a:off x="3630071" y="1365015"/>
              <a:ext cx="648254" cy="33772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 anchor="b"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en-US" sz="1600" spc="-15" dirty="0">
                  <a:solidFill>
                    <a:srgbClr val="3B43FB"/>
                  </a:solidFill>
                  <a:latin typeface="Open Sans Bold" panose="020B0806030504020204" pitchFamily="34" charset="0"/>
                  <a:ea typeface="Open Sans Bold" panose="020B0806030504020204" pitchFamily="34" charset="0"/>
                  <a:cs typeface="Open Sans Bold" panose="020B0806030504020204" pitchFamily="34" charset="0"/>
                </a:rPr>
                <a:t>&lt; 3%</a:t>
              </a:r>
            </a:p>
          </p:txBody>
        </p:sp>
      </p:grpSp>
      <p:grpSp>
        <p:nvGrpSpPr>
          <p:cNvPr id="7" name="Grupo 6">
            <a:extLst>
              <a:ext uri="{FF2B5EF4-FFF2-40B4-BE49-F238E27FC236}">
                <a16:creationId xmlns:a16="http://schemas.microsoft.com/office/drawing/2014/main" id="{AD50CCB3-E244-3C65-7609-2FD92347445B}"/>
              </a:ext>
            </a:extLst>
          </p:cNvPr>
          <p:cNvGrpSpPr/>
          <p:nvPr/>
        </p:nvGrpSpPr>
        <p:grpSpPr>
          <a:xfrm>
            <a:off x="4870109" y="677274"/>
            <a:ext cx="1460152" cy="737769"/>
            <a:chOff x="5012363" y="983707"/>
            <a:chExt cx="1460152" cy="737769"/>
          </a:xfrm>
        </p:grpSpPr>
        <p:sp>
          <p:nvSpPr>
            <p:cNvPr id="1371" name="Freeform 45">
              <a:extLst>
                <a:ext uri="{FF2B5EF4-FFF2-40B4-BE49-F238E27FC236}">
                  <a16:creationId xmlns:a16="http://schemas.microsoft.com/office/drawing/2014/main" id="{F4F4138C-5117-C0F5-1DDF-4CFA9D620E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2363" y="983707"/>
              <a:ext cx="1460152" cy="737769"/>
            </a:xfrm>
            <a:custGeom>
              <a:avLst/>
              <a:gdLst>
                <a:gd name="T0" fmla="*/ 3876 w 4081"/>
                <a:gd name="T1" fmla="*/ 2428 h 2429"/>
                <a:gd name="T2" fmla="*/ 204 w 4081"/>
                <a:gd name="T3" fmla="*/ 2428 h 2429"/>
                <a:gd name="T4" fmla="*/ 204 w 4081"/>
                <a:gd name="T5" fmla="*/ 2428 h 2429"/>
                <a:gd name="T6" fmla="*/ 0 w 4081"/>
                <a:gd name="T7" fmla="*/ 2225 h 2429"/>
                <a:gd name="T8" fmla="*/ 0 w 4081"/>
                <a:gd name="T9" fmla="*/ 204 h 2429"/>
                <a:gd name="T10" fmla="*/ 0 w 4081"/>
                <a:gd name="T11" fmla="*/ 204 h 2429"/>
                <a:gd name="T12" fmla="*/ 204 w 4081"/>
                <a:gd name="T13" fmla="*/ 0 h 2429"/>
                <a:gd name="T14" fmla="*/ 3876 w 4081"/>
                <a:gd name="T15" fmla="*/ 0 h 2429"/>
                <a:gd name="T16" fmla="*/ 3876 w 4081"/>
                <a:gd name="T17" fmla="*/ 0 h 2429"/>
                <a:gd name="T18" fmla="*/ 4080 w 4081"/>
                <a:gd name="T19" fmla="*/ 204 h 2429"/>
                <a:gd name="T20" fmla="*/ 4080 w 4081"/>
                <a:gd name="T21" fmla="*/ 2225 h 2429"/>
                <a:gd name="T22" fmla="*/ 4080 w 4081"/>
                <a:gd name="T23" fmla="*/ 2225 h 2429"/>
                <a:gd name="T24" fmla="*/ 3876 w 4081"/>
                <a:gd name="T25" fmla="*/ 2428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81" h="2429">
                  <a:moveTo>
                    <a:pt x="3876" y="2428"/>
                  </a:moveTo>
                  <a:lnTo>
                    <a:pt x="204" y="2428"/>
                  </a:lnTo>
                  <a:lnTo>
                    <a:pt x="204" y="2428"/>
                  </a:lnTo>
                  <a:cubicBezTo>
                    <a:pt x="92" y="2428"/>
                    <a:pt x="0" y="2337"/>
                    <a:pt x="0" y="2225"/>
                  </a:cubicBezTo>
                  <a:lnTo>
                    <a:pt x="0" y="204"/>
                  </a:lnTo>
                  <a:lnTo>
                    <a:pt x="0" y="204"/>
                  </a:lnTo>
                  <a:cubicBezTo>
                    <a:pt x="0" y="91"/>
                    <a:pt x="92" y="0"/>
                    <a:pt x="204" y="0"/>
                  </a:cubicBezTo>
                  <a:lnTo>
                    <a:pt x="3876" y="0"/>
                  </a:lnTo>
                  <a:lnTo>
                    <a:pt x="3876" y="0"/>
                  </a:lnTo>
                  <a:cubicBezTo>
                    <a:pt x="3988" y="0"/>
                    <a:pt x="4080" y="91"/>
                    <a:pt x="4080" y="204"/>
                  </a:cubicBezTo>
                  <a:lnTo>
                    <a:pt x="4080" y="2225"/>
                  </a:lnTo>
                  <a:lnTo>
                    <a:pt x="4080" y="2225"/>
                  </a:lnTo>
                  <a:cubicBezTo>
                    <a:pt x="4080" y="2337"/>
                    <a:pt x="3988" y="2428"/>
                    <a:pt x="3876" y="2428"/>
                  </a:cubicBezTo>
                </a:path>
              </a:pathLst>
            </a:custGeom>
            <a:solidFill>
              <a:schemeClr val="bg1"/>
            </a:solidFill>
            <a:ln>
              <a:solidFill>
                <a:srgbClr val="3B43FB"/>
              </a:solidFill>
            </a:ln>
            <a:effectLst/>
          </p:spPr>
          <p:txBody>
            <a:bodyPr wrap="none" anchor="ctr"/>
            <a:lstStyle/>
            <a:p>
              <a:endParaRPr lang="en-US" sz="3265" dirty="0">
                <a:latin typeface="DM Sans" pitchFamily="2" charset="77"/>
              </a:endParaRPr>
            </a:p>
          </p:txBody>
        </p:sp>
        <p:sp>
          <p:nvSpPr>
            <p:cNvPr id="1372" name="TextBox 46">
              <a:extLst>
                <a:ext uri="{FF2B5EF4-FFF2-40B4-BE49-F238E27FC236}">
                  <a16:creationId xmlns:a16="http://schemas.microsoft.com/office/drawing/2014/main" id="{28836612-D83B-FFD1-AD4F-9533188F01CE}"/>
                </a:ext>
              </a:extLst>
            </p:cNvPr>
            <p:cNvSpPr txBox="1"/>
            <p:nvPr/>
          </p:nvSpPr>
          <p:spPr>
            <a:xfrm>
              <a:off x="5012363" y="1004575"/>
              <a:ext cx="1460152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1000" b="1" spc="-15" dirty="0">
                  <a:solidFill>
                    <a:srgbClr val="3B43FB"/>
                  </a:solidFill>
                  <a:latin typeface="Open Sans"/>
                  <a:ea typeface="Open Sans"/>
                  <a:cs typeface="Open Sans"/>
                </a:rPr>
                <a:t>Critical DER</a:t>
              </a:r>
            </a:p>
          </p:txBody>
        </p:sp>
        <p:sp>
          <p:nvSpPr>
            <p:cNvPr id="1373" name="TextBox 45">
              <a:extLst>
                <a:ext uri="{FF2B5EF4-FFF2-40B4-BE49-F238E27FC236}">
                  <a16:creationId xmlns:a16="http://schemas.microsoft.com/office/drawing/2014/main" id="{FB96DBE8-673F-8F6E-743C-96C395E22294}"/>
                </a:ext>
              </a:extLst>
            </p:cNvPr>
            <p:cNvSpPr txBox="1"/>
            <p:nvPr/>
          </p:nvSpPr>
          <p:spPr>
            <a:xfrm>
              <a:off x="5332071" y="1365015"/>
              <a:ext cx="820739" cy="3377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en-US" sz="1600" spc="-15" dirty="0">
                  <a:solidFill>
                    <a:srgbClr val="3B43FB"/>
                  </a:solidFill>
                  <a:latin typeface="Open Sans Bold" panose="020B0806030504020204" pitchFamily="34" charset="0"/>
                  <a:ea typeface="Open Sans Bold" panose="020B0806030504020204" pitchFamily="34" charset="0"/>
                  <a:cs typeface="Open Sans Bold" panose="020B0806030504020204" pitchFamily="34" charset="0"/>
                </a:rPr>
                <a:t>&lt; 0.2%</a:t>
              </a:r>
            </a:p>
          </p:txBody>
        </p:sp>
      </p:grpSp>
      <p:grpSp>
        <p:nvGrpSpPr>
          <p:cNvPr id="8" name="Grupo 7">
            <a:extLst>
              <a:ext uri="{FF2B5EF4-FFF2-40B4-BE49-F238E27FC236}">
                <a16:creationId xmlns:a16="http://schemas.microsoft.com/office/drawing/2014/main" id="{7A4A42A8-24E3-146D-AAA0-15538238B60C}"/>
              </a:ext>
            </a:extLst>
          </p:cNvPr>
          <p:cNvGrpSpPr/>
          <p:nvPr/>
        </p:nvGrpSpPr>
        <p:grpSpPr>
          <a:xfrm>
            <a:off x="8223204" y="677274"/>
            <a:ext cx="1460152" cy="737769"/>
            <a:chOff x="8365458" y="983707"/>
            <a:chExt cx="1460152" cy="737769"/>
          </a:xfrm>
        </p:grpSpPr>
        <p:sp>
          <p:nvSpPr>
            <p:cNvPr id="1359" name="Freeform 45">
              <a:extLst>
                <a:ext uri="{FF2B5EF4-FFF2-40B4-BE49-F238E27FC236}">
                  <a16:creationId xmlns:a16="http://schemas.microsoft.com/office/drawing/2014/main" id="{BBA43BEA-BE3F-67B3-86F1-1CE3907896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5458" y="983707"/>
              <a:ext cx="1460152" cy="737769"/>
            </a:xfrm>
            <a:custGeom>
              <a:avLst/>
              <a:gdLst>
                <a:gd name="T0" fmla="*/ 3876 w 4081"/>
                <a:gd name="T1" fmla="*/ 2428 h 2429"/>
                <a:gd name="T2" fmla="*/ 204 w 4081"/>
                <a:gd name="T3" fmla="*/ 2428 h 2429"/>
                <a:gd name="T4" fmla="*/ 204 w 4081"/>
                <a:gd name="T5" fmla="*/ 2428 h 2429"/>
                <a:gd name="T6" fmla="*/ 0 w 4081"/>
                <a:gd name="T7" fmla="*/ 2225 h 2429"/>
                <a:gd name="T8" fmla="*/ 0 w 4081"/>
                <a:gd name="T9" fmla="*/ 204 h 2429"/>
                <a:gd name="T10" fmla="*/ 0 w 4081"/>
                <a:gd name="T11" fmla="*/ 204 h 2429"/>
                <a:gd name="T12" fmla="*/ 204 w 4081"/>
                <a:gd name="T13" fmla="*/ 0 h 2429"/>
                <a:gd name="T14" fmla="*/ 3876 w 4081"/>
                <a:gd name="T15" fmla="*/ 0 h 2429"/>
                <a:gd name="T16" fmla="*/ 3876 w 4081"/>
                <a:gd name="T17" fmla="*/ 0 h 2429"/>
                <a:gd name="T18" fmla="*/ 4080 w 4081"/>
                <a:gd name="T19" fmla="*/ 204 h 2429"/>
                <a:gd name="T20" fmla="*/ 4080 w 4081"/>
                <a:gd name="T21" fmla="*/ 2225 h 2429"/>
                <a:gd name="T22" fmla="*/ 4080 w 4081"/>
                <a:gd name="T23" fmla="*/ 2225 h 2429"/>
                <a:gd name="T24" fmla="*/ 3876 w 4081"/>
                <a:gd name="T25" fmla="*/ 2428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81" h="2429">
                  <a:moveTo>
                    <a:pt x="3876" y="2428"/>
                  </a:moveTo>
                  <a:lnTo>
                    <a:pt x="204" y="2428"/>
                  </a:lnTo>
                  <a:lnTo>
                    <a:pt x="204" y="2428"/>
                  </a:lnTo>
                  <a:cubicBezTo>
                    <a:pt x="92" y="2428"/>
                    <a:pt x="0" y="2337"/>
                    <a:pt x="0" y="2225"/>
                  </a:cubicBezTo>
                  <a:lnTo>
                    <a:pt x="0" y="204"/>
                  </a:lnTo>
                  <a:lnTo>
                    <a:pt x="0" y="204"/>
                  </a:lnTo>
                  <a:cubicBezTo>
                    <a:pt x="0" y="91"/>
                    <a:pt x="92" y="0"/>
                    <a:pt x="204" y="0"/>
                  </a:cubicBezTo>
                  <a:lnTo>
                    <a:pt x="3876" y="0"/>
                  </a:lnTo>
                  <a:lnTo>
                    <a:pt x="3876" y="0"/>
                  </a:lnTo>
                  <a:cubicBezTo>
                    <a:pt x="3988" y="0"/>
                    <a:pt x="4080" y="91"/>
                    <a:pt x="4080" y="204"/>
                  </a:cubicBezTo>
                  <a:lnTo>
                    <a:pt x="4080" y="2225"/>
                  </a:lnTo>
                  <a:lnTo>
                    <a:pt x="4080" y="2225"/>
                  </a:lnTo>
                  <a:cubicBezTo>
                    <a:pt x="4080" y="2337"/>
                    <a:pt x="3988" y="2428"/>
                    <a:pt x="3876" y="2428"/>
                  </a:cubicBezTo>
                </a:path>
              </a:pathLst>
            </a:custGeom>
            <a:solidFill>
              <a:schemeClr val="bg1"/>
            </a:solidFill>
            <a:ln>
              <a:solidFill>
                <a:srgbClr val="F86F35"/>
              </a:solidFill>
            </a:ln>
            <a:effectLst/>
          </p:spPr>
          <p:txBody>
            <a:bodyPr wrap="none" anchor="ctr"/>
            <a:lstStyle/>
            <a:p>
              <a:endParaRPr lang="en-US" sz="3265" dirty="0">
                <a:ln>
                  <a:solidFill>
                    <a:srgbClr val="F86F35"/>
                  </a:solidFill>
                </a:ln>
                <a:latin typeface="DM Sans" pitchFamily="2" charset="77"/>
              </a:endParaRPr>
            </a:p>
          </p:txBody>
        </p:sp>
        <p:sp>
          <p:nvSpPr>
            <p:cNvPr id="1360" name="TextBox 46">
              <a:extLst>
                <a:ext uri="{FF2B5EF4-FFF2-40B4-BE49-F238E27FC236}">
                  <a16:creationId xmlns:a16="http://schemas.microsoft.com/office/drawing/2014/main" id="{9337CE84-FE0B-B177-D401-92A1BBEF6AE9}"/>
                </a:ext>
              </a:extLst>
            </p:cNvPr>
            <p:cNvSpPr txBox="1"/>
            <p:nvPr/>
          </p:nvSpPr>
          <p:spPr>
            <a:xfrm>
              <a:off x="8365458" y="1004575"/>
              <a:ext cx="1460152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1000" b="1" spc="-15" dirty="0">
                  <a:solidFill>
                    <a:srgbClr val="F86F35"/>
                  </a:solidFill>
                  <a:latin typeface="Open Sans"/>
                  <a:ea typeface="Open Sans"/>
                  <a:cs typeface="Open Sans"/>
                </a:rPr>
                <a:t>Productivity Increase</a:t>
              </a:r>
              <a:endParaRPr lang="en-US" dirty="0"/>
            </a:p>
          </p:txBody>
        </p:sp>
        <p:sp>
          <p:nvSpPr>
            <p:cNvPr id="1361" name="TextBox 45">
              <a:extLst>
                <a:ext uri="{FF2B5EF4-FFF2-40B4-BE49-F238E27FC236}">
                  <a16:creationId xmlns:a16="http://schemas.microsoft.com/office/drawing/2014/main" id="{C4E0A768-6DC1-B5A2-B894-7E5220981FE3}"/>
                </a:ext>
              </a:extLst>
            </p:cNvPr>
            <p:cNvSpPr txBox="1"/>
            <p:nvPr/>
          </p:nvSpPr>
          <p:spPr>
            <a:xfrm>
              <a:off x="8507713" y="1365015"/>
              <a:ext cx="1175643" cy="3377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en-US" sz="1600" spc="-15" dirty="0">
                  <a:solidFill>
                    <a:srgbClr val="F86F35"/>
                  </a:solidFill>
                  <a:latin typeface="Open Sans Bold" panose="020B0806030504020204" pitchFamily="34" charset="0"/>
                  <a:ea typeface="Open Sans Bold" panose="020B0806030504020204" pitchFamily="34" charset="0"/>
                  <a:cs typeface="Open Sans Bold" panose="020B0806030504020204" pitchFamily="34" charset="0"/>
                </a:rPr>
                <a:t>20% - 40%</a:t>
              </a:r>
            </a:p>
          </p:txBody>
        </p:sp>
      </p:grpSp>
      <p:grpSp>
        <p:nvGrpSpPr>
          <p:cNvPr id="1376" name="Group 1375">
            <a:extLst>
              <a:ext uri="{FF2B5EF4-FFF2-40B4-BE49-F238E27FC236}">
                <a16:creationId xmlns:a16="http://schemas.microsoft.com/office/drawing/2014/main" id="{46016381-A009-0C78-C934-AC230FBA016F}"/>
              </a:ext>
            </a:extLst>
          </p:cNvPr>
          <p:cNvGrpSpPr/>
          <p:nvPr/>
        </p:nvGrpSpPr>
        <p:grpSpPr>
          <a:xfrm>
            <a:off x="7366917" y="913614"/>
            <a:ext cx="659794" cy="265088"/>
            <a:chOff x="1139602" y="1220047"/>
            <a:chExt cx="659794" cy="265088"/>
          </a:xfrm>
        </p:grpSpPr>
        <p:sp>
          <p:nvSpPr>
            <p:cNvPr id="1377" name="Elipse 4">
              <a:extLst>
                <a:ext uri="{FF2B5EF4-FFF2-40B4-BE49-F238E27FC236}">
                  <a16:creationId xmlns:a16="http://schemas.microsoft.com/office/drawing/2014/main" id="{7B4208F8-2C1C-731B-B2B6-ED8E7BF8CE6E}"/>
                </a:ext>
              </a:extLst>
            </p:cNvPr>
            <p:cNvSpPr/>
            <p:nvPr/>
          </p:nvSpPr>
          <p:spPr>
            <a:xfrm>
              <a:off x="1139602" y="1220047"/>
              <a:ext cx="265088" cy="265088"/>
            </a:xfrm>
            <a:prstGeom prst="ellipse">
              <a:avLst/>
            </a:prstGeom>
            <a:solidFill>
              <a:srgbClr val="0111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MX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j-lt"/>
                  <a:ea typeface="Open Sans" panose="020B0606030504020204" pitchFamily="34" charset="0"/>
                  <a:cs typeface="Calibri" panose="020F0502020204030204" pitchFamily="34" charset="0"/>
                </a:rPr>
                <a:t>B</a:t>
              </a:r>
            </a:p>
          </p:txBody>
        </p:sp>
        <p:pic>
          <p:nvPicPr>
            <p:cNvPr id="1378" name="Graphic 1377">
              <a:extLst>
                <a:ext uri="{FF2B5EF4-FFF2-40B4-BE49-F238E27FC236}">
                  <a16:creationId xmlns:a16="http://schemas.microsoft.com/office/drawing/2014/main" id="{7E4054A9-05BC-0537-5A3E-3029C33A78F1}"/>
                </a:ext>
              </a:extLst>
            </p:cNvPr>
            <p:cNvPicPr>
              <a:picLocks/>
            </p:cNvPicPr>
            <p:nvPr>
              <p:custDataLst>
                <p:tags r:id="rId2"/>
              </p:custDataLst>
            </p:nvPr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546983" y="1220047"/>
              <a:ext cx="252413" cy="252413"/>
            </a:xfrm>
            <a:prstGeom prst="rect">
              <a:avLst/>
            </a:prstGeom>
          </p:spPr>
        </p:pic>
      </p:grp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E666FEED-A71C-6BF1-456D-E30B86FF9920}"/>
              </a:ext>
            </a:extLst>
          </p:cNvPr>
          <p:cNvSpPr/>
          <p:nvPr/>
        </p:nvSpPr>
        <p:spPr>
          <a:xfrm>
            <a:off x="2224136" y="5863695"/>
            <a:ext cx="7459219" cy="530249"/>
          </a:xfrm>
          <a:prstGeom prst="roundRect">
            <a:avLst/>
          </a:prstGeom>
          <a:solidFill>
            <a:srgbClr val="0111A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150" b="1" dirty="0">
                <a:latin typeface="Open Sans"/>
                <a:ea typeface="Open Sans"/>
                <a:cs typeface="Open Sans"/>
              </a:rPr>
              <a:t>Dev-Sec-Ops: CI/CD</a:t>
            </a:r>
            <a:r>
              <a:rPr lang="en-US" sz="1150" dirty="0">
                <a:latin typeface="Open Sans"/>
                <a:ea typeface="Open Sans"/>
                <a:cs typeface="Open Sans"/>
              </a:rPr>
              <a:t> Integration and continuous delivery for the Software Development Lifecycle</a:t>
            </a:r>
          </a:p>
          <a:p>
            <a:pPr algn="ctr"/>
            <a:r>
              <a:rPr lang="en-US" sz="1150" dirty="0">
                <a:latin typeface="Open Sans"/>
                <a:ea typeface="Open Sans"/>
                <a:cs typeface="Open Sans"/>
              </a:rPr>
              <a:t>(Includes Data and Environment Management)</a:t>
            </a:r>
          </a:p>
        </p:txBody>
      </p:sp>
      <p:sp>
        <p:nvSpPr>
          <p:cNvPr id="1351" name="Rectangle: Rounded Corners 1350">
            <a:extLst>
              <a:ext uri="{FF2B5EF4-FFF2-40B4-BE49-F238E27FC236}">
                <a16:creationId xmlns:a16="http://schemas.microsoft.com/office/drawing/2014/main" id="{39752A2D-04A5-05DC-87F4-F74D5AF5C5B9}"/>
              </a:ext>
            </a:extLst>
          </p:cNvPr>
          <p:cNvSpPr/>
          <p:nvPr/>
        </p:nvSpPr>
        <p:spPr>
          <a:xfrm>
            <a:off x="2224136" y="6448492"/>
            <a:ext cx="7459220" cy="324383"/>
          </a:xfrm>
          <a:prstGeom prst="roundRect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 dirty="0">
                <a:latin typeface="Open Sans"/>
                <a:ea typeface="Open Sans"/>
                <a:cs typeface="Open Sans"/>
              </a:rPr>
              <a:t>AGILE KPI</a:t>
            </a:r>
            <a:r>
              <a:rPr lang="en-US" sz="1200" dirty="0">
                <a:latin typeface="Open Sans"/>
                <a:ea typeface="Open Sans"/>
                <a:cs typeface="Open Sans"/>
              </a:rPr>
              <a:t> Performance execution and monitoring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50EB200D-B56F-BCD3-DC4B-EF3D164CA970}"/>
              </a:ext>
            </a:extLst>
          </p:cNvPr>
          <p:cNvSpPr txBox="1"/>
          <p:nvPr/>
        </p:nvSpPr>
        <p:spPr>
          <a:xfrm>
            <a:off x="3655477" y="3349288"/>
            <a:ext cx="1242769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00" b="1" dirty="0">
                <a:solidFill>
                  <a:srgbClr val="F86F35"/>
                </a:solidFill>
                <a:latin typeface="Open Sans"/>
                <a:ea typeface="Open Sans"/>
                <a:cs typeface="Open Sans"/>
              </a:rPr>
              <a:t> User Stories Analysis</a:t>
            </a:r>
            <a:endParaRPr lang="en-US" dirty="0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5FC69830-6EB1-3DD6-C609-C5D5CE7BBD3A}"/>
              </a:ext>
            </a:extLst>
          </p:cNvPr>
          <p:cNvSpPr txBox="1"/>
          <p:nvPr/>
        </p:nvSpPr>
        <p:spPr>
          <a:xfrm>
            <a:off x="4033302" y="2458049"/>
            <a:ext cx="1056700" cy="40011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en-US" sz="1000" b="1" dirty="0">
                <a:solidFill>
                  <a:srgbClr val="F86F35"/>
                </a:solidFill>
                <a:latin typeface="Open Sans"/>
                <a:ea typeface="Open Sans"/>
                <a:cs typeface="Open Sans"/>
              </a:rPr>
              <a:t>Planning and </a:t>
            </a:r>
          </a:p>
          <a:p>
            <a:pPr algn="ctr"/>
            <a:r>
              <a:rPr lang="en-US" sz="1000" b="1" dirty="0">
                <a:solidFill>
                  <a:srgbClr val="F86F35"/>
                </a:solidFill>
                <a:latin typeface="Open Sans"/>
                <a:ea typeface="Open Sans"/>
                <a:cs typeface="Open Sans"/>
              </a:rPr>
              <a:t>Estimation</a:t>
            </a:r>
            <a:endParaRPr lang="en-US" sz="1000" b="1" dirty="0">
              <a:solidFill>
                <a:srgbClr val="F86F35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F198BF90-5585-F5B9-A8B3-E5BD7D193DE7}"/>
              </a:ext>
            </a:extLst>
          </p:cNvPr>
          <p:cNvSpPr txBox="1"/>
          <p:nvPr/>
        </p:nvSpPr>
        <p:spPr>
          <a:xfrm>
            <a:off x="5273233" y="1898522"/>
            <a:ext cx="17150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F86F3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ratis Deep Design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2109D166-C8C4-A9EB-FE87-79CF366EEB66}"/>
              </a:ext>
            </a:extLst>
          </p:cNvPr>
          <p:cNvSpPr txBox="1"/>
          <p:nvPr/>
        </p:nvSpPr>
        <p:spPr>
          <a:xfrm>
            <a:off x="7055154" y="2485602"/>
            <a:ext cx="1827744" cy="24622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000" b="1" dirty="0">
                <a:solidFill>
                  <a:srgbClr val="F86F35"/>
                </a:solidFill>
                <a:latin typeface="Open Sans"/>
                <a:ea typeface="Open Sans"/>
                <a:cs typeface="Open Sans"/>
              </a:rPr>
              <a:t>Test Environments Config</a:t>
            </a:r>
            <a:endParaRPr lang="en-US" dirty="0"/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791E4AF8-F559-35B7-F836-BEBB372BB2F6}"/>
              </a:ext>
            </a:extLst>
          </p:cNvPr>
          <p:cNvSpPr txBox="1"/>
          <p:nvPr/>
        </p:nvSpPr>
        <p:spPr>
          <a:xfrm>
            <a:off x="7080477" y="3501166"/>
            <a:ext cx="1119217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00" b="1" dirty="0">
                <a:solidFill>
                  <a:srgbClr val="F86F35"/>
                </a:solidFill>
                <a:latin typeface="Open Sans"/>
                <a:ea typeface="Open Sans"/>
                <a:cs typeface="Open Sans"/>
              </a:rPr>
              <a:t>Test </a:t>
            </a:r>
          </a:p>
          <a:p>
            <a:pPr algn="ctr"/>
            <a:r>
              <a:rPr lang="en-US" sz="1000" b="1" dirty="0">
                <a:solidFill>
                  <a:srgbClr val="F86F35"/>
                </a:solidFill>
                <a:latin typeface="Open Sans"/>
                <a:ea typeface="Open Sans"/>
                <a:cs typeface="Open Sans"/>
              </a:rPr>
              <a:t>Execution</a:t>
            </a:r>
            <a:endParaRPr lang="en-US" sz="1000" b="1" dirty="0">
              <a:solidFill>
                <a:srgbClr val="F86F35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AF7BE03A-9883-FB45-FC81-A753579E5E21}"/>
              </a:ext>
            </a:extLst>
          </p:cNvPr>
          <p:cNvSpPr txBox="1"/>
          <p:nvPr/>
        </p:nvSpPr>
        <p:spPr>
          <a:xfrm>
            <a:off x="4163840" y="4012483"/>
            <a:ext cx="867545" cy="40011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en-US" sz="1000" dirty="0">
                <a:solidFill>
                  <a:srgbClr val="F86F35"/>
                </a:solidFill>
                <a:latin typeface="Open Sans SemiBold"/>
                <a:ea typeface="Open Sans SemiBold"/>
                <a:cs typeface="Open Sans SemiBold"/>
              </a:rPr>
              <a:t>Sprint Task </a:t>
            </a:r>
          </a:p>
          <a:p>
            <a:pPr algn="ctr"/>
            <a:r>
              <a:rPr lang="en-US" sz="1000" dirty="0">
                <a:solidFill>
                  <a:srgbClr val="F86F35"/>
                </a:solidFill>
                <a:latin typeface="Open Sans SemiBold"/>
                <a:ea typeface="Open Sans SemiBold"/>
                <a:cs typeface="Open Sans SemiBold"/>
              </a:rPr>
              <a:t>Update</a:t>
            </a:r>
            <a:endParaRPr lang="en-US" sz="1000" dirty="0">
              <a:solidFill>
                <a:srgbClr val="F86F35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E1B2494B-4D84-5D9F-984B-80ACC7E75C83}"/>
              </a:ext>
            </a:extLst>
          </p:cNvPr>
          <p:cNvSpPr txBox="1"/>
          <p:nvPr/>
        </p:nvSpPr>
        <p:spPr>
          <a:xfrm>
            <a:off x="2119183" y="4079212"/>
            <a:ext cx="6826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F86F3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Sprint</a:t>
            </a:r>
          </a:p>
          <a:p>
            <a:pPr algn="ctr"/>
            <a:r>
              <a:rPr lang="en-US" sz="1000" dirty="0">
                <a:solidFill>
                  <a:srgbClr val="F86F3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Backlog</a:t>
            </a:r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C6527E4E-C68B-B17B-98F6-32D618CE8E51}"/>
              </a:ext>
            </a:extLst>
          </p:cNvPr>
          <p:cNvSpPr/>
          <p:nvPr/>
        </p:nvSpPr>
        <p:spPr>
          <a:xfrm>
            <a:off x="4931128" y="3474905"/>
            <a:ext cx="327121" cy="327121"/>
          </a:xfrm>
          <a:prstGeom prst="ellipse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7" name="Elipse 26">
            <a:extLst>
              <a:ext uri="{FF2B5EF4-FFF2-40B4-BE49-F238E27FC236}">
                <a16:creationId xmlns:a16="http://schemas.microsoft.com/office/drawing/2014/main" id="{F2DBBB54-C1F3-22B4-893F-BE2DAC60980A}"/>
              </a:ext>
            </a:extLst>
          </p:cNvPr>
          <p:cNvSpPr/>
          <p:nvPr/>
        </p:nvSpPr>
        <p:spPr>
          <a:xfrm>
            <a:off x="4992832" y="2691767"/>
            <a:ext cx="327121" cy="327121"/>
          </a:xfrm>
          <a:prstGeom prst="ellipse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3AC0A46D-1992-31BC-4048-E16447ABA2D8}"/>
              </a:ext>
            </a:extLst>
          </p:cNvPr>
          <p:cNvSpPr/>
          <p:nvPr/>
        </p:nvSpPr>
        <p:spPr>
          <a:xfrm>
            <a:off x="5823970" y="2205917"/>
            <a:ext cx="327121" cy="327121"/>
          </a:xfrm>
          <a:prstGeom prst="ellipse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33397E71-D8CE-AE79-0489-BF8746538B47}"/>
              </a:ext>
            </a:extLst>
          </p:cNvPr>
          <p:cNvSpPr/>
          <p:nvPr/>
        </p:nvSpPr>
        <p:spPr>
          <a:xfrm>
            <a:off x="6680179" y="2688138"/>
            <a:ext cx="327121" cy="327121"/>
          </a:xfrm>
          <a:prstGeom prst="ellipse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id="{92BB4065-FC65-AB97-DC4D-79D5CCD1B1DC}"/>
              </a:ext>
            </a:extLst>
          </p:cNvPr>
          <p:cNvSpPr/>
          <p:nvPr/>
        </p:nvSpPr>
        <p:spPr>
          <a:xfrm>
            <a:off x="5182119" y="5020213"/>
            <a:ext cx="327121" cy="327121"/>
          </a:xfrm>
          <a:prstGeom prst="ellipse">
            <a:avLst/>
          </a:prstGeom>
          <a:solidFill>
            <a:srgbClr val="F86F35"/>
          </a:solidFill>
          <a:ln>
            <a:solidFill>
              <a:srgbClr val="F86F3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id="{31399A25-D1DF-D79E-9D3C-109DFB8754B5}"/>
              </a:ext>
            </a:extLst>
          </p:cNvPr>
          <p:cNvSpPr/>
          <p:nvPr/>
        </p:nvSpPr>
        <p:spPr>
          <a:xfrm>
            <a:off x="3381576" y="5020213"/>
            <a:ext cx="327121" cy="327121"/>
          </a:xfrm>
          <a:prstGeom prst="ellipse">
            <a:avLst/>
          </a:prstGeom>
          <a:solidFill>
            <a:srgbClr val="F86F35"/>
          </a:solidFill>
          <a:ln>
            <a:solidFill>
              <a:srgbClr val="F86F3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7</a:t>
            </a:r>
          </a:p>
        </p:txBody>
      </p:sp>
      <p:pic>
        <p:nvPicPr>
          <p:cNvPr id="37" name="Gráfico 36">
            <a:extLst>
              <a:ext uri="{FF2B5EF4-FFF2-40B4-BE49-F238E27FC236}">
                <a16:creationId xmlns:a16="http://schemas.microsoft.com/office/drawing/2014/main" id="{C5709539-6F58-BD21-8D9F-A7CDC17AA36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850203" y="5077486"/>
            <a:ext cx="1244230" cy="268707"/>
          </a:xfrm>
          <a:prstGeom prst="rect">
            <a:avLst/>
          </a:prstGeom>
        </p:spPr>
      </p:pic>
      <p:sp>
        <p:nvSpPr>
          <p:cNvPr id="38" name="CuadroTexto 37">
            <a:extLst>
              <a:ext uri="{FF2B5EF4-FFF2-40B4-BE49-F238E27FC236}">
                <a16:creationId xmlns:a16="http://schemas.microsoft.com/office/drawing/2014/main" id="{E045C2DB-ADEA-6A44-213A-2B23658A426A}"/>
              </a:ext>
            </a:extLst>
          </p:cNvPr>
          <p:cNvSpPr txBox="1"/>
          <p:nvPr/>
        </p:nvSpPr>
        <p:spPr>
          <a:xfrm>
            <a:off x="385290" y="3013804"/>
            <a:ext cx="1459495" cy="55399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00" dirty="0">
                <a:solidFill>
                  <a:srgbClr val="3B43FB"/>
                </a:solidFill>
                <a:latin typeface="Open Sans SemiBold"/>
                <a:ea typeface="Open Sans SemiBold"/>
                <a:cs typeface="Open Sans SemiBold"/>
              </a:rPr>
              <a:t>QA Committee</a:t>
            </a:r>
            <a:endParaRPr lang="en-US" sz="1000" dirty="0">
              <a:solidFill>
                <a:srgbClr val="3B43FB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pPr algn="ctr"/>
            <a:endParaRPr lang="en-US" sz="1000" dirty="0">
              <a:solidFill>
                <a:srgbClr val="3B43FB"/>
              </a:solidFill>
              <a:latin typeface="Open Sans SemiBold"/>
              <a:ea typeface="Open Sans SemiBold"/>
              <a:cs typeface="Open Sans SemiBold"/>
            </a:endParaRPr>
          </a:p>
          <a:p>
            <a:pPr algn="ctr"/>
            <a:r>
              <a:rPr lang="en-US" sz="1000" dirty="0">
                <a:solidFill>
                  <a:srgbClr val="3B43FB"/>
                </a:solidFill>
                <a:latin typeface="Open Sans SemiBold"/>
                <a:ea typeface="Open Sans SemiBold"/>
                <a:cs typeface="Open Sans SemiBold"/>
              </a:rPr>
              <a:t>Client + Stratis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BE42CBD6-B740-509F-FEAA-4CB38C6DBE1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924061" y="2287060"/>
            <a:ext cx="1755011" cy="1362882"/>
          </a:xfrm>
          <a:prstGeom prst="rect">
            <a:avLst/>
          </a:prstGeom>
        </p:spPr>
      </p:pic>
      <p:pic>
        <p:nvPicPr>
          <p:cNvPr id="26" name="Gráfico 25">
            <a:extLst>
              <a:ext uri="{FF2B5EF4-FFF2-40B4-BE49-F238E27FC236}">
                <a16:creationId xmlns:a16="http://schemas.microsoft.com/office/drawing/2014/main" id="{F2526641-2F78-B44F-33A7-AC276FBA106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235276" y="2005035"/>
            <a:ext cx="1466850" cy="733425"/>
          </a:xfrm>
          <a:prstGeom prst="rect">
            <a:avLst/>
          </a:prstGeom>
        </p:spPr>
      </p:pic>
      <p:sp>
        <p:nvSpPr>
          <p:cNvPr id="36" name="CuadroTexto 35">
            <a:extLst>
              <a:ext uri="{FF2B5EF4-FFF2-40B4-BE49-F238E27FC236}">
                <a16:creationId xmlns:a16="http://schemas.microsoft.com/office/drawing/2014/main" id="{BFF96ABE-35A6-5FE2-7846-834F6DE1FE9A}"/>
              </a:ext>
            </a:extLst>
          </p:cNvPr>
          <p:cNvSpPr txBox="1"/>
          <p:nvPr/>
        </p:nvSpPr>
        <p:spPr>
          <a:xfrm>
            <a:off x="2309139" y="2100885"/>
            <a:ext cx="1305279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Sprint Planning and Prep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5" name="Gráfico 44">
            <a:extLst>
              <a:ext uri="{FF2B5EF4-FFF2-40B4-BE49-F238E27FC236}">
                <a16:creationId xmlns:a16="http://schemas.microsoft.com/office/drawing/2014/main" id="{BC03CA41-0D37-668B-7CB6-F080C7B0A16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906403" y="1601688"/>
            <a:ext cx="460514" cy="269189"/>
          </a:xfrm>
          <a:prstGeom prst="rect">
            <a:avLst/>
          </a:prstGeom>
        </p:spPr>
      </p:pic>
      <p:sp>
        <p:nvSpPr>
          <p:cNvPr id="47" name="CuadroTexto 46">
            <a:extLst>
              <a:ext uri="{FF2B5EF4-FFF2-40B4-BE49-F238E27FC236}">
                <a16:creationId xmlns:a16="http://schemas.microsoft.com/office/drawing/2014/main" id="{E5917F0D-8447-9128-0056-45E91DE98836}"/>
              </a:ext>
            </a:extLst>
          </p:cNvPr>
          <p:cNvSpPr txBox="1"/>
          <p:nvPr/>
        </p:nvSpPr>
        <p:spPr>
          <a:xfrm>
            <a:off x="5189817" y="1613173"/>
            <a:ext cx="1821540" cy="24622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 defTabSz="457200">
              <a:spcAft>
                <a:spcPts val="600"/>
              </a:spcAft>
              <a:defRPr/>
            </a:pPr>
            <a:r>
              <a:rPr lang="en-US" sz="1000" b="1" dirty="0">
                <a:solidFill>
                  <a:srgbClr val="0111A2"/>
                </a:solidFill>
                <a:latin typeface="Open Sans"/>
                <a:ea typeface="Open Sans"/>
                <a:cs typeface="Open Sans"/>
              </a:rPr>
              <a:t>Product + Development</a:t>
            </a:r>
            <a:endParaRPr lang="en-US" sz="1000" b="1" i="0" u="none" strike="noStrike" kern="1200" cap="none" spc="0" normalizeH="0" baseline="0" dirty="0">
              <a:ln>
                <a:noFill/>
              </a:ln>
              <a:solidFill>
                <a:srgbClr val="0111A2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98DB76E2-54B1-A53F-3A3A-4C2ECD67E728}"/>
              </a:ext>
            </a:extLst>
          </p:cNvPr>
          <p:cNvSpPr txBox="1"/>
          <p:nvPr/>
        </p:nvSpPr>
        <p:spPr>
          <a:xfrm>
            <a:off x="3327769" y="4675252"/>
            <a:ext cx="4427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F86F3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AT</a:t>
            </a:r>
          </a:p>
        </p:txBody>
      </p:sp>
      <p:pic>
        <p:nvPicPr>
          <p:cNvPr id="55" name="Gráfico 54">
            <a:extLst>
              <a:ext uri="{FF2B5EF4-FFF2-40B4-BE49-F238E27FC236}">
                <a16:creationId xmlns:a16="http://schemas.microsoft.com/office/drawing/2014/main" id="{2B0D0FDA-9132-CA84-F311-70EE2F9E8194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795070" y="4093367"/>
            <a:ext cx="381281" cy="381281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B9241B29-65DF-7889-E7D0-1A22D03F3925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608296" y="4075443"/>
            <a:ext cx="590285" cy="403879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B55EB77B-BD53-B7E4-BF3B-06F4BF1D1E3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753932" y="4118823"/>
            <a:ext cx="971574" cy="335977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11AE0E9F-A35E-3D9E-13B2-691796480E7C}"/>
              </a:ext>
            </a:extLst>
          </p:cNvPr>
          <p:cNvSpPr txBox="1"/>
          <p:nvPr/>
        </p:nvSpPr>
        <p:spPr>
          <a:xfrm>
            <a:off x="9709561" y="3155089"/>
            <a:ext cx="1837363" cy="9011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dirty="0">
                <a:latin typeface="Open Sans"/>
                <a:ea typeface="Open Sans"/>
                <a:cs typeface="Open Sans"/>
              </a:rPr>
              <a:t>Exploratory Testing</a:t>
            </a:r>
            <a:br>
              <a:rPr lang="en-US" sz="9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9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moke Tests</a:t>
            </a:r>
            <a:br>
              <a:rPr lang="en-US" sz="9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9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nctional Testing</a:t>
            </a:r>
            <a:br>
              <a:rPr lang="en-US" sz="9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9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n-Functional Testing</a:t>
            </a:r>
            <a:endParaRPr lang="en-US" sz="900" dirty="0">
              <a:latin typeface="Open Sans"/>
              <a:ea typeface="Open Sans"/>
              <a:cs typeface="Open Sans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201D99EC-0AE3-9964-57DD-B38E086EAD4B}"/>
              </a:ext>
            </a:extLst>
          </p:cNvPr>
          <p:cNvSpPr txBox="1"/>
          <p:nvPr/>
        </p:nvSpPr>
        <p:spPr>
          <a:xfrm>
            <a:off x="4280323" y="4593292"/>
            <a:ext cx="2130711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00" b="1" dirty="0">
                <a:solidFill>
                  <a:srgbClr val="F86F35"/>
                </a:solidFill>
                <a:latin typeface="Open Sans"/>
                <a:ea typeface="Open Sans"/>
                <a:cs typeface="Open Sans"/>
              </a:rPr>
              <a:t>Regression Testing</a:t>
            </a:r>
            <a:endParaRPr lang="en-US" sz="1000" b="1" dirty="0">
              <a:solidFill>
                <a:srgbClr val="F86F35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8DFF5404-11C9-2E99-A63E-4D72FB04E7B0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577" y="2858691"/>
            <a:ext cx="290943" cy="568883"/>
          </a:xfrm>
          <a:prstGeom prst="rect">
            <a:avLst/>
          </a:prstGeom>
        </p:spPr>
      </p:pic>
      <p:pic>
        <p:nvPicPr>
          <p:cNvPr id="28" name="Gráfico 27">
            <a:extLst>
              <a:ext uri="{FF2B5EF4-FFF2-40B4-BE49-F238E27FC236}">
                <a16:creationId xmlns:a16="http://schemas.microsoft.com/office/drawing/2014/main" id="{3E443327-4759-A65F-CB32-88A0BB0D0735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639445" y="4175177"/>
            <a:ext cx="2106682" cy="1164527"/>
          </a:xfrm>
          <a:prstGeom prst="rect">
            <a:avLst/>
          </a:prstGeom>
        </p:spPr>
      </p:pic>
      <p:sp>
        <p:nvSpPr>
          <p:cNvPr id="32" name="Elipse 31">
            <a:extLst>
              <a:ext uri="{FF2B5EF4-FFF2-40B4-BE49-F238E27FC236}">
                <a16:creationId xmlns:a16="http://schemas.microsoft.com/office/drawing/2014/main" id="{8E796A90-6D44-5C13-AEF1-64AE3A1561BC}"/>
              </a:ext>
            </a:extLst>
          </p:cNvPr>
          <p:cNvSpPr/>
          <p:nvPr/>
        </p:nvSpPr>
        <p:spPr>
          <a:xfrm>
            <a:off x="6742843" y="3484480"/>
            <a:ext cx="327121" cy="327121"/>
          </a:xfrm>
          <a:prstGeom prst="ellipse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5</a:t>
            </a:r>
          </a:p>
        </p:txBody>
      </p:sp>
      <p:pic>
        <p:nvPicPr>
          <p:cNvPr id="43" name="Gráfico 42">
            <a:extLst>
              <a:ext uri="{FF2B5EF4-FFF2-40B4-BE49-F238E27FC236}">
                <a16:creationId xmlns:a16="http://schemas.microsoft.com/office/drawing/2014/main" id="{8323E5D3-F976-DFF0-6810-7CD49425F2B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295040" y="1492681"/>
            <a:ext cx="1466850" cy="733425"/>
          </a:xfrm>
          <a:prstGeom prst="rect">
            <a:avLst/>
          </a:prstGeom>
        </p:spPr>
      </p:pic>
      <p:sp>
        <p:nvSpPr>
          <p:cNvPr id="42" name="CuadroTexto 41">
            <a:extLst>
              <a:ext uri="{FF2B5EF4-FFF2-40B4-BE49-F238E27FC236}">
                <a16:creationId xmlns:a16="http://schemas.microsoft.com/office/drawing/2014/main" id="{32D48B24-0F0A-F51F-7BC7-C499C9422390}"/>
              </a:ext>
            </a:extLst>
          </p:cNvPr>
          <p:cNvSpPr txBox="1"/>
          <p:nvPr/>
        </p:nvSpPr>
        <p:spPr>
          <a:xfrm>
            <a:off x="10295040" y="1502330"/>
            <a:ext cx="1466850" cy="6001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Virtual Services and QA Environment Management</a:t>
            </a:r>
            <a:endParaRPr lang="en-US" sz="11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ED581B08-70DD-55D8-526B-D7886422A165}"/>
              </a:ext>
            </a:extLst>
          </p:cNvPr>
          <p:cNvSpPr txBox="1"/>
          <p:nvPr/>
        </p:nvSpPr>
        <p:spPr>
          <a:xfrm>
            <a:off x="5555573" y="3133514"/>
            <a:ext cx="9099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AILY</a:t>
            </a:r>
          </a:p>
          <a:p>
            <a:pPr algn="ctr"/>
            <a:r>
              <a:rPr lang="en-US" sz="10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STAND-UP</a:t>
            </a:r>
          </a:p>
        </p:txBody>
      </p:sp>
      <p:pic>
        <p:nvPicPr>
          <p:cNvPr id="49" name="Gráfico 48">
            <a:extLst>
              <a:ext uri="{FF2B5EF4-FFF2-40B4-BE49-F238E27FC236}">
                <a16:creationId xmlns:a16="http://schemas.microsoft.com/office/drawing/2014/main" id="{F37BC6B6-71B8-DAD6-06D0-C12AE544E93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436152" y="5077217"/>
            <a:ext cx="822220" cy="284329"/>
          </a:xfrm>
          <a:prstGeom prst="rect">
            <a:avLst/>
          </a:prstGeom>
        </p:spPr>
      </p:pic>
      <p:sp>
        <p:nvSpPr>
          <p:cNvPr id="50" name="CuadroTexto 49">
            <a:extLst>
              <a:ext uri="{FF2B5EF4-FFF2-40B4-BE49-F238E27FC236}">
                <a16:creationId xmlns:a16="http://schemas.microsoft.com/office/drawing/2014/main" id="{3B0A5D8A-8FA7-E20A-1B7B-B91062932080}"/>
              </a:ext>
            </a:extLst>
          </p:cNvPr>
          <p:cNvSpPr txBox="1"/>
          <p:nvPr/>
        </p:nvSpPr>
        <p:spPr>
          <a:xfrm>
            <a:off x="1616710" y="5069194"/>
            <a:ext cx="8226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rgbClr val="3B43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LEASE</a:t>
            </a:r>
          </a:p>
        </p:txBody>
      </p:sp>
      <p:pic>
        <p:nvPicPr>
          <p:cNvPr id="53" name="Gráfico 52">
            <a:extLst>
              <a:ext uri="{FF2B5EF4-FFF2-40B4-BE49-F238E27FC236}">
                <a16:creationId xmlns:a16="http://schemas.microsoft.com/office/drawing/2014/main" id="{0AD07735-8976-D4F5-1E69-641C861CFC6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441065" y="2755519"/>
            <a:ext cx="1133159" cy="1189117"/>
          </a:xfrm>
          <a:prstGeom prst="rect">
            <a:avLst/>
          </a:prstGeom>
        </p:spPr>
      </p:pic>
      <p:sp>
        <p:nvSpPr>
          <p:cNvPr id="56" name="Rectángulo 55">
            <a:extLst>
              <a:ext uri="{FF2B5EF4-FFF2-40B4-BE49-F238E27FC236}">
                <a16:creationId xmlns:a16="http://schemas.microsoft.com/office/drawing/2014/main" id="{2DD2596E-236C-1827-E63C-FB4BD5973012}"/>
              </a:ext>
            </a:extLst>
          </p:cNvPr>
          <p:cNvSpPr/>
          <p:nvPr/>
        </p:nvSpPr>
        <p:spPr>
          <a:xfrm>
            <a:off x="2832847" y="2855327"/>
            <a:ext cx="209172" cy="543198"/>
          </a:xfrm>
          <a:prstGeom prst="rect">
            <a:avLst/>
          </a:prstGeom>
          <a:solidFill>
            <a:srgbClr val="FBF8F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3AB919F4-C9F7-F65D-1CFA-E59A9264C639}"/>
              </a:ext>
            </a:extLst>
          </p:cNvPr>
          <p:cNvSpPr/>
          <p:nvPr/>
        </p:nvSpPr>
        <p:spPr>
          <a:xfrm>
            <a:off x="10027205" y="5419780"/>
            <a:ext cx="640664" cy="543198"/>
          </a:xfrm>
          <a:prstGeom prst="rect">
            <a:avLst/>
          </a:prstGeom>
          <a:solidFill>
            <a:srgbClr val="FBF8F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Imagen 15" descr="Imagen que contiene computadora, monitor, teclado, pantalla&#10;&#10;El contenido generado por IA puede ser incorrecto.">
            <a:extLst>
              <a:ext uri="{FF2B5EF4-FFF2-40B4-BE49-F238E27FC236}">
                <a16:creationId xmlns:a16="http://schemas.microsoft.com/office/drawing/2014/main" id="{E1DA341F-5D64-22D2-0207-8CDEC8428C86}"/>
              </a:ext>
            </a:extLst>
          </p:cNvPr>
          <p:cNvPicPr>
            <a:picLocks noChangeAspect="1"/>
          </p:cNvPicPr>
          <p:nvPr/>
        </p:nvPicPr>
        <p:blipFill>
          <a:blip r:embed="rId30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7615" y="3691773"/>
            <a:ext cx="691631" cy="549236"/>
          </a:xfrm>
          <a:prstGeom prst="rect">
            <a:avLst/>
          </a:prstGeom>
        </p:spPr>
      </p:pic>
      <p:sp>
        <p:nvSpPr>
          <p:cNvPr id="60" name="CuadroTexto 59">
            <a:extLst>
              <a:ext uri="{FF2B5EF4-FFF2-40B4-BE49-F238E27FC236}">
                <a16:creationId xmlns:a16="http://schemas.microsoft.com/office/drawing/2014/main" id="{757BCDD6-0EE3-5710-201E-6247DDE4DA08}"/>
              </a:ext>
            </a:extLst>
          </p:cNvPr>
          <p:cNvSpPr txBox="1"/>
          <p:nvPr/>
        </p:nvSpPr>
        <p:spPr>
          <a:xfrm>
            <a:off x="8186530" y="3471284"/>
            <a:ext cx="1821540" cy="24622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 defTabSz="457200">
              <a:spcAft>
                <a:spcPts val="600"/>
              </a:spcAft>
              <a:defRPr/>
            </a:pPr>
            <a:r>
              <a:rPr lang="en-US" sz="1000" b="1" dirty="0">
                <a:solidFill>
                  <a:srgbClr val="0111A2"/>
                </a:solidFill>
                <a:latin typeface="Open Sans"/>
                <a:ea typeface="Open Sans"/>
                <a:cs typeface="Open Sans"/>
              </a:rPr>
              <a:t>Data Management</a:t>
            </a:r>
            <a:endParaRPr lang="en-US" sz="1000" b="1" i="0" u="none" strike="noStrike" kern="1200" cap="none" spc="0" normalizeH="0" baseline="0" dirty="0">
              <a:ln>
                <a:noFill/>
              </a:ln>
              <a:solidFill>
                <a:srgbClr val="0111A2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345" name="Gráfico 1344">
            <a:extLst>
              <a:ext uri="{FF2B5EF4-FFF2-40B4-BE49-F238E27FC236}">
                <a16:creationId xmlns:a16="http://schemas.microsoft.com/office/drawing/2014/main" id="{25D31E51-DC7E-2DC5-F504-84989F4EAF95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8950167" y="2493794"/>
            <a:ext cx="1479297" cy="2248531"/>
          </a:xfrm>
          <a:prstGeom prst="rect">
            <a:avLst/>
          </a:prstGeom>
        </p:spPr>
      </p:pic>
      <p:pic>
        <p:nvPicPr>
          <p:cNvPr id="23" name="Gráfico 22">
            <a:extLst>
              <a:ext uri="{FF2B5EF4-FFF2-40B4-BE49-F238E27FC236}">
                <a16:creationId xmlns:a16="http://schemas.microsoft.com/office/drawing/2014/main" id="{09615499-094F-4AFA-3BAF-B5621BBF88D5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890628" y="2646062"/>
            <a:ext cx="455572" cy="433528"/>
          </a:xfrm>
          <a:prstGeom prst="rect">
            <a:avLst/>
          </a:prstGeom>
        </p:spPr>
      </p:pic>
      <p:sp>
        <p:nvSpPr>
          <p:cNvPr id="24" name="CuadroTexto 23">
            <a:extLst>
              <a:ext uri="{FF2B5EF4-FFF2-40B4-BE49-F238E27FC236}">
                <a16:creationId xmlns:a16="http://schemas.microsoft.com/office/drawing/2014/main" id="{5B1EE36B-9141-1367-6346-13611B2068DC}"/>
              </a:ext>
            </a:extLst>
          </p:cNvPr>
          <p:cNvSpPr txBox="1"/>
          <p:nvPr/>
        </p:nvSpPr>
        <p:spPr>
          <a:xfrm>
            <a:off x="4280323" y="5400741"/>
            <a:ext cx="213071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900" dirty="0">
                <a:solidFill>
                  <a:srgbClr val="00194F"/>
                </a:solidFill>
                <a:latin typeface="Open Sans"/>
                <a:ea typeface="Open Sans"/>
                <a:cs typeface="Open Sans"/>
              </a:rPr>
              <a:t>Scripts Execution, Maintenance and Optimization</a:t>
            </a:r>
            <a:endParaRPr lang="en-US" sz="900" dirty="0">
              <a:solidFill>
                <a:srgbClr val="00194F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1" name="TextBox 46">
            <a:extLst>
              <a:ext uri="{FF2B5EF4-FFF2-40B4-BE49-F238E27FC236}">
                <a16:creationId xmlns:a16="http://schemas.microsoft.com/office/drawing/2014/main" id="{2DB48407-A799-5C33-F47D-1111D721245A}"/>
              </a:ext>
            </a:extLst>
          </p:cNvPr>
          <p:cNvSpPr txBox="1"/>
          <p:nvPr/>
        </p:nvSpPr>
        <p:spPr>
          <a:xfrm>
            <a:off x="9610646" y="6169147"/>
            <a:ext cx="2419477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lnSpc>
                <a:spcPts val="1200"/>
              </a:lnSpc>
            </a:pPr>
            <a:r>
              <a:rPr lang="en-US" sz="1000" b="1" spc="-15" dirty="0">
                <a:solidFill>
                  <a:srgbClr val="F86F35"/>
                </a:solidFill>
                <a:latin typeface="Open Sans"/>
                <a:ea typeface="Open Sans"/>
                <a:cs typeface="Open Sans"/>
              </a:rPr>
              <a:t>* Depends on the Automation maturity model</a:t>
            </a:r>
          </a:p>
        </p:txBody>
      </p:sp>
      <p:pic>
        <p:nvPicPr>
          <p:cNvPr id="39" name="Imagen 38" descr="Icono&#10;&#10;El contenido generado por IA puede ser incorrecto.">
            <a:extLst>
              <a:ext uri="{FF2B5EF4-FFF2-40B4-BE49-F238E27FC236}">
                <a16:creationId xmlns:a16="http://schemas.microsoft.com/office/drawing/2014/main" id="{082C585F-735E-7F72-539E-06097359B4FE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1482" y="5239097"/>
            <a:ext cx="676387" cy="692620"/>
          </a:xfrm>
          <a:prstGeom prst="rect">
            <a:avLst/>
          </a:prstGeom>
        </p:spPr>
      </p:pic>
      <p:pic>
        <p:nvPicPr>
          <p:cNvPr id="44" name="Imagen 43" descr="Icono&#10;&#10;El contenido generado por IA puede ser incorrecto.">
            <a:extLst>
              <a:ext uri="{FF2B5EF4-FFF2-40B4-BE49-F238E27FC236}">
                <a16:creationId xmlns:a16="http://schemas.microsoft.com/office/drawing/2014/main" id="{93CF30F8-4E9F-6EC9-447D-BF479270092A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6104" y="3340470"/>
            <a:ext cx="430882" cy="441223"/>
          </a:xfrm>
          <a:prstGeom prst="rect">
            <a:avLst/>
          </a:prstGeom>
        </p:spPr>
      </p:pic>
      <p:pic>
        <p:nvPicPr>
          <p:cNvPr id="46" name="Imagen 45" descr="Icono&#10;&#10;El contenido generado por IA puede ser incorrecto.">
            <a:extLst>
              <a:ext uri="{FF2B5EF4-FFF2-40B4-BE49-F238E27FC236}">
                <a16:creationId xmlns:a16="http://schemas.microsoft.com/office/drawing/2014/main" id="{90CD3A43-4785-1CE8-CF98-9F48CD1D25DC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4257" y="1658347"/>
            <a:ext cx="430882" cy="441223"/>
          </a:xfrm>
          <a:prstGeom prst="rect">
            <a:avLst/>
          </a:prstGeom>
        </p:spPr>
      </p:pic>
      <p:pic>
        <p:nvPicPr>
          <p:cNvPr id="48" name="Imagen 47" descr="Icono&#10;&#10;El contenido generado por IA puede ser incorrecto.">
            <a:extLst>
              <a:ext uri="{FF2B5EF4-FFF2-40B4-BE49-F238E27FC236}">
                <a16:creationId xmlns:a16="http://schemas.microsoft.com/office/drawing/2014/main" id="{67B1C7B4-5E9C-B9B6-D7CA-D1A42265F083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9123" y="2846917"/>
            <a:ext cx="530467" cy="543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3553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E824C0-E70B-98BE-C74C-18AF972911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B1E3256E-1A2A-254F-2BAB-54B83ED6B0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B1E3256E-1A2A-254F-2BAB-54B83ED6B0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DCD298D-9863-5497-90FF-ED414AF88C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5657" y="381639"/>
            <a:ext cx="11320907" cy="39600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solidFill>
                  <a:srgbClr val="F86F35"/>
                </a:solidFill>
                <a:latin typeface="Open Sans ExtraBold"/>
                <a:ea typeface="Open Sans ExtraBold"/>
                <a:cs typeface="Open Sans ExtraBold"/>
              </a:rPr>
              <a:t>STRATIS DEEP DESIGN METHODOLOGY </a:t>
            </a:r>
            <a:endParaRPr lang="en-US" dirty="0">
              <a:solidFill>
                <a:srgbClr val="F86F35"/>
              </a:solidFill>
            </a:endParaRPr>
          </a:p>
        </p:txBody>
      </p:sp>
      <p:sp>
        <p:nvSpPr>
          <p:cNvPr id="7" name="Marcador de número de diapositiva 2">
            <a:extLst>
              <a:ext uri="{FF2B5EF4-FFF2-40B4-BE49-F238E27FC236}">
                <a16:creationId xmlns:a16="http://schemas.microsoft.com/office/drawing/2014/main" id="{C2987F6A-E6D5-7FCE-E397-AB069FB8B05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47762" y="6356350"/>
            <a:ext cx="374072" cy="365125"/>
          </a:xfrm>
        </p:spPr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CD5EE6-B07D-46D8-B98F-6FBF37506E8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8367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8367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B7ED777-FD6D-33CE-9AAE-DDBD7046B090}"/>
              </a:ext>
            </a:extLst>
          </p:cNvPr>
          <p:cNvSpPr txBox="1"/>
          <p:nvPr/>
        </p:nvSpPr>
        <p:spPr>
          <a:xfrm>
            <a:off x="434565" y="4811532"/>
            <a:ext cx="35942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noProof="0" dirty="0">
                <a:solidFill>
                  <a:srgbClr val="F86F3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How this helps your business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9EC4D82-2648-81BF-1A35-C591AF1B2646}"/>
              </a:ext>
            </a:extLst>
          </p:cNvPr>
          <p:cNvGrpSpPr/>
          <p:nvPr/>
        </p:nvGrpSpPr>
        <p:grpSpPr>
          <a:xfrm>
            <a:off x="4408923" y="1262546"/>
            <a:ext cx="3374154" cy="3372812"/>
            <a:chOff x="4294809" y="1262546"/>
            <a:chExt cx="3374154" cy="3372812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37041487-4461-C7DC-D4CC-E6C5253AD55E}"/>
                </a:ext>
              </a:extLst>
            </p:cNvPr>
            <p:cNvSpPr/>
            <p:nvPr/>
          </p:nvSpPr>
          <p:spPr>
            <a:xfrm>
              <a:off x="4294809" y="1262546"/>
              <a:ext cx="3374154" cy="3372812"/>
            </a:xfrm>
            <a:prstGeom prst="roundRect">
              <a:avLst>
                <a:gd name="adj" fmla="val 6337"/>
              </a:avLst>
            </a:prstGeom>
            <a:solidFill>
              <a:schemeClr val="accent5">
                <a:lumMod val="20000"/>
                <a:lumOff val="80000"/>
                <a:alpha val="30000"/>
              </a:schemeClr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918A297-33D9-789E-404A-21F1EA3E9D42}"/>
                </a:ext>
              </a:extLst>
            </p:cNvPr>
            <p:cNvGrpSpPr/>
            <p:nvPr/>
          </p:nvGrpSpPr>
          <p:grpSpPr>
            <a:xfrm>
              <a:off x="4469418" y="3713987"/>
              <a:ext cx="3024937" cy="816495"/>
              <a:chOff x="4469417" y="3576397"/>
              <a:chExt cx="3024937" cy="816495"/>
            </a:xfrm>
          </p:grpSpPr>
          <p:grpSp>
            <p:nvGrpSpPr>
              <p:cNvPr id="1349" name="Group 1348">
                <a:extLst>
                  <a:ext uri="{FF2B5EF4-FFF2-40B4-BE49-F238E27FC236}">
                    <a16:creationId xmlns:a16="http://schemas.microsoft.com/office/drawing/2014/main" id="{4FD66B66-1166-A104-2194-2FD4FB2B8F9A}"/>
                  </a:ext>
                </a:extLst>
              </p:cNvPr>
              <p:cNvGrpSpPr/>
              <p:nvPr/>
            </p:nvGrpSpPr>
            <p:grpSpPr>
              <a:xfrm>
                <a:off x="4469417" y="3576397"/>
                <a:ext cx="1044000" cy="816495"/>
                <a:chOff x="4469417" y="3748868"/>
                <a:chExt cx="1044000" cy="816495"/>
              </a:xfrm>
            </p:grpSpPr>
            <p:grpSp>
              <p:nvGrpSpPr>
                <p:cNvPr id="1375" name="Group 1374">
                  <a:extLst>
                    <a:ext uri="{FF2B5EF4-FFF2-40B4-BE49-F238E27FC236}">
                      <a16:creationId xmlns:a16="http://schemas.microsoft.com/office/drawing/2014/main" id="{660B1221-7E7A-78D9-D4C0-B797EC34F2AA}"/>
                    </a:ext>
                  </a:extLst>
                </p:cNvPr>
                <p:cNvGrpSpPr/>
                <p:nvPr/>
              </p:nvGrpSpPr>
              <p:grpSpPr>
                <a:xfrm>
                  <a:off x="4782483" y="3748868"/>
                  <a:ext cx="417868" cy="418618"/>
                  <a:chOff x="4483722" y="4035163"/>
                  <a:chExt cx="713232" cy="714512"/>
                </a:xfrm>
              </p:grpSpPr>
              <p:sp>
                <p:nvSpPr>
                  <p:cNvPr id="1379" name="Text Placeholder 1">
                    <a:extLst>
                      <a:ext uri="{FF2B5EF4-FFF2-40B4-BE49-F238E27FC236}">
                        <a16:creationId xmlns:a16="http://schemas.microsoft.com/office/drawing/2014/main" id="{88E6A6CB-2FD8-21FD-72F9-BF0F7E654123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>
                  <a:xfrm>
                    <a:off x="4483722" y="4035163"/>
                    <a:ext cx="713232" cy="714512"/>
                  </a:xfrm>
                  <a:prstGeom prst="ellipse">
                    <a:avLst/>
                  </a:prstGeom>
                  <a:solidFill>
                    <a:schemeClr val="accent5">
                      <a:lumMod val="20000"/>
                      <a:lumOff val="80000"/>
                    </a:schemeClr>
                  </a:solidFill>
                  <a:ln>
                    <a:noFill/>
                  </a:ln>
                </p:spPr>
                <p:txBody>
                  <a:bodyPr vert="horz" wrap="none" lIns="0" tIns="45720" rIns="0" bIns="45720" rtlCol="0" anchor="ctr">
                    <a:noAutofit/>
                  </a:bodyPr>
                  <a:lstStyle>
                    <a:lvl1pPr indent="0">
                      <a:lnSpc>
                        <a:spcPct val="90000"/>
                      </a:lnSpc>
                      <a:spcBef>
                        <a:spcPts val="0"/>
                      </a:spcBef>
                      <a:buFont typeface="Arial" panose="020B0604020202020204" pitchFamily="34" charset="0"/>
                      <a:buNone/>
                      <a:defRPr sz="2400">
                        <a:solidFill>
                          <a:srgbClr val="002060"/>
                        </a:solidFill>
                        <a:latin typeface="Open Sans SemiBold" panose="020B0706030804020204" pitchFamily="34" charset="0"/>
                        <a:ea typeface="Open Sans SemiBold" panose="020B0706030804020204" pitchFamily="34" charset="0"/>
                        <a:cs typeface="Open Sans SemiBold" panose="020B0706030804020204" pitchFamily="34" charset="0"/>
                      </a:defRPr>
                    </a:lvl1pPr>
                    <a:lvl2pPr marL="6858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None/>
                      <a:defRPr sz="2400">
                        <a:solidFill>
                          <a:schemeClr val="bg1"/>
                        </a:solidFill>
                      </a:defRPr>
                    </a:lvl2pPr>
                    <a:lvl3pPr marL="11430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None/>
                      <a:defRPr sz="2000">
                        <a:solidFill>
                          <a:schemeClr val="bg1"/>
                        </a:solidFill>
                      </a:defRPr>
                    </a:lvl3pPr>
                    <a:lvl4pPr marL="16002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None/>
                      <a:defRPr>
                        <a:solidFill>
                          <a:schemeClr val="bg1"/>
                        </a:solidFill>
                      </a:defRPr>
                    </a:lvl4pPr>
                    <a:lvl5pPr marL="20574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None/>
                      <a:defRPr>
                        <a:solidFill>
                          <a:schemeClr val="bg1"/>
                        </a:solidFill>
                      </a:defRPr>
                    </a:lvl5pPr>
                    <a:lvl6pPr marL="25146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</a:lvl6pPr>
                    <a:lvl7pPr marL="29718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</a:lvl7pPr>
                    <a:lvl8pPr marL="34290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</a:lvl8pPr>
                    <a:lvl9pPr marL="38862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</a:lvl9pPr>
                  </a:lstStyle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600"/>
                      </a:spcAft>
                      <a:buClrTx/>
                      <a:buSzTx/>
                      <a:buFont typeface="Arial" panose="020B0604020202020204" pitchFamily="34" charset="0"/>
                      <a:buNone/>
                      <a:tabLst/>
                      <a:defRPr/>
                    </a:pPr>
                    <a:endPara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5"/>
                      </a:solidFill>
                      <a:effectLst/>
                      <a:uLnTx/>
                      <a:uFillTx/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endParaRPr>
                  </a:p>
                </p:txBody>
              </p:sp>
              <p:grpSp>
                <p:nvGrpSpPr>
                  <p:cNvPr id="1400" name="Group 1399">
                    <a:extLst>
                      <a:ext uri="{FF2B5EF4-FFF2-40B4-BE49-F238E27FC236}">
                        <a16:creationId xmlns:a16="http://schemas.microsoft.com/office/drawing/2014/main" id="{C17AE5BE-C8D6-0123-8BC2-FE581140A5B9}"/>
                      </a:ext>
                    </a:extLst>
                  </p:cNvPr>
                  <p:cNvGrpSpPr/>
                  <p:nvPr/>
                </p:nvGrpSpPr>
                <p:grpSpPr>
                  <a:xfrm>
                    <a:off x="4680586" y="4122147"/>
                    <a:ext cx="319504" cy="540544"/>
                    <a:chOff x="6006110" y="5194325"/>
                    <a:chExt cx="319504" cy="540544"/>
                  </a:xfrm>
                </p:grpSpPr>
                <p:sp>
                  <p:nvSpPr>
                    <p:cNvPr id="1402" name="Arrow: Up 1401">
                      <a:extLst>
                        <a:ext uri="{FF2B5EF4-FFF2-40B4-BE49-F238E27FC236}">
                          <a16:creationId xmlns:a16="http://schemas.microsoft.com/office/drawing/2014/main" id="{640E430C-AB81-EFA3-BE02-D532901105F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06110" y="5194325"/>
                      <a:ext cx="319504" cy="540544"/>
                    </a:xfrm>
                    <a:prstGeom prst="upArrow">
                      <a:avLst>
                        <a:gd name="adj1" fmla="val 53887"/>
                        <a:gd name="adj2" fmla="val 54535"/>
                      </a:avLst>
                    </a:prstGeom>
                    <a:solidFill>
                      <a:schemeClr val="accent5"/>
                    </a:solidFill>
                    <a:ln>
                      <a:solidFill>
                        <a:schemeClr val="accent5"/>
                      </a:solidFill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p:txBody>
                </p:sp>
                <p:pic>
                  <p:nvPicPr>
                    <p:cNvPr id="1410" name="Graphic 1409">
                      <a:extLst>
                        <a:ext uri="{FF2B5EF4-FFF2-40B4-BE49-F238E27FC236}">
                          <a16:creationId xmlns:a16="http://schemas.microsoft.com/office/drawing/2014/main" id="{5161EEE4-3B64-7DBD-B500-A34358902ADC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rcRect l="22946" t="22946" r="22946" b="22946"/>
                    <a:stretch/>
                  </p:blipFill>
                  <p:spPr>
                    <a:xfrm>
                      <a:off x="6071821" y="5373524"/>
                      <a:ext cx="188079" cy="188079"/>
                    </a:xfrm>
                    <a:prstGeom prst="rect">
                      <a:avLst/>
                    </a:prstGeom>
                  </p:spPr>
                </p:pic>
              </p:grpSp>
            </p:grpSp>
            <p:sp>
              <p:nvSpPr>
                <p:cNvPr id="1378" name="TextBox 1377">
                  <a:extLst>
                    <a:ext uri="{FF2B5EF4-FFF2-40B4-BE49-F238E27FC236}">
                      <a16:creationId xmlns:a16="http://schemas.microsoft.com/office/drawing/2014/main" id="{DDE3578F-260D-A557-68F8-66602E28D7EE}"/>
                    </a:ext>
                  </a:extLst>
                </p:cNvPr>
                <p:cNvSpPr txBox="1"/>
                <p:nvPr/>
              </p:nvSpPr>
              <p:spPr>
                <a:xfrm>
                  <a:off x="4469417" y="4196031"/>
                  <a:ext cx="1044000" cy="369332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t">
                  <a:spAutoFit/>
                </a:bodyPr>
                <a:lstStyle/>
                <a:p>
                  <a:pPr algn="ctr" defTabSz="457200">
                    <a:spcAft>
                      <a:spcPts val="600"/>
                    </a:spcAft>
                    <a:defRPr/>
                  </a:pPr>
                  <a:r>
                    <a:rPr lang="en-US" sz="900" dirty="0">
                      <a:solidFill>
                        <a:srgbClr val="0111A2"/>
                      </a:solidFill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rPr>
                    <a:t>Designed Test Cases</a:t>
                  </a:r>
                  <a:endParaRPr lang="en-US" sz="900" b="0" i="0" u="none" strike="noStrike" kern="1200" cap="none" spc="0" normalizeH="0" baseline="0" dirty="0">
                    <a:ln>
                      <a:noFill/>
                    </a:ln>
                    <a:solidFill>
                      <a:srgbClr val="0111A2"/>
                    </a:solidFill>
                    <a:effectLst/>
                    <a:uLnTx/>
                    <a:uFillTx/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endParaRPr>
                </a:p>
              </p:txBody>
            </p:sp>
          </p:grpSp>
          <p:grpSp>
            <p:nvGrpSpPr>
              <p:cNvPr id="1351" name="Group 1350">
                <a:extLst>
                  <a:ext uri="{FF2B5EF4-FFF2-40B4-BE49-F238E27FC236}">
                    <a16:creationId xmlns:a16="http://schemas.microsoft.com/office/drawing/2014/main" id="{2AC7F5D6-65B7-37AA-E041-8371C738107B}"/>
                  </a:ext>
                </a:extLst>
              </p:cNvPr>
              <p:cNvGrpSpPr/>
              <p:nvPr/>
            </p:nvGrpSpPr>
            <p:grpSpPr>
              <a:xfrm>
                <a:off x="5550074" y="3576397"/>
                <a:ext cx="863624" cy="816495"/>
                <a:chOff x="5550074" y="3748868"/>
                <a:chExt cx="863624" cy="816495"/>
              </a:xfrm>
            </p:grpSpPr>
            <p:grpSp>
              <p:nvGrpSpPr>
                <p:cNvPr id="1367" name="Group 1366">
                  <a:extLst>
                    <a:ext uri="{FF2B5EF4-FFF2-40B4-BE49-F238E27FC236}">
                      <a16:creationId xmlns:a16="http://schemas.microsoft.com/office/drawing/2014/main" id="{95EC644B-F6A7-C360-BE05-18F44FEAAC83}"/>
                    </a:ext>
                  </a:extLst>
                </p:cNvPr>
                <p:cNvGrpSpPr/>
                <p:nvPr/>
              </p:nvGrpSpPr>
              <p:grpSpPr>
                <a:xfrm>
                  <a:off x="5772952" y="3748868"/>
                  <a:ext cx="417868" cy="418618"/>
                  <a:chOff x="5564018" y="3774934"/>
                  <a:chExt cx="417868" cy="418618"/>
                </a:xfrm>
              </p:grpSpPr>
              <p:sp>
                <p:nvSpPr>
                  <p:cNvPr id="1371" name="Text Placeholder 1">
                    <a:extLst>
                      <a:ext uri="{FF2B5EF4-FFF2-40B4-BE49-F238E27FC236}">
                        <a16:creationId xmlns:a16="http://schemas.microsoft.com/office/drawing/2014/main" id="{7BC7F8B0-E840-6CC7-9394-ABAFE2FE815F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>
                  <a:xfrm>
                    <a:off x="5564018" y="3774934"/>
                    <a:ext cx="417868" cy="418618"/>
                  </a:xfrm>
                  <a:prstGeom prst="ellipse">
                    <a:avLst/>
                  </a:prstGeom>
                  <a:solidFill>
                    <a:schemeClr val="accent5">
                      <a:lumMod val="20000"/>
                      <a:lumOff val="80000"/>
                    </a:schemeClr>
                  </a:solidFill>
                  <a:ln>
                    <a:noFill/>
                  </a:ln>
                </p:spPr>
                <p:txBody>
                  <a:bodyPr vert="horz" wrap="none" lIns="0" tIns="45720" rIns="0" bIns="45720" rtlCol="0" anchor="ctr">
                    <a:noAutofit/>
                  </a:bodyPr>
                  <a:lstStyle>
                    <a:lvl1pPr indent="0">
                      <a:lnSpc>
                        <a:spcPct val="90000"/>
                      </a:lnSpc>
                      <a:spcBef>
                        <a:spcPts val="0"/>
                      </a:spcBef>
                      <a:buFont typeface="Arial" panose="020B0604020202020204" pitchFamily="34" charset="0"/>
                      <a:buNone/>
                      <a:defRPr sz="2400">
                        <a:solidFill>
                          <a:srgbClr val="002060"/>
                        </a:solidFill>
                        <a:latin typeface="Open Sans SemiBold" panose="020B0706030804020204" pitchFamily="34" charset="0"/>
                        <a:ea typeface="Open Sans SemiBold" panose="020B0706030804020204" pitchFamily="34" charset="0"/>
                        <a:cs typeface="Open Sans SemiBold" panose="020B0706030804020204" pitchFamily="34" charset="0"/>
                      </a:defRPr>
                    </a:lvl1pPr>
                    <a:lvl2pPr marL="6858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None/>
                      <a:defRPr sz="2400">
                        <a:solidFill>
                          <a:schemeClr val="bg1"/>
                        </a:solidFill>
                      </a:defRPr>
                    </a:lvl2pPr>
                    <a:lvl3pPr marL="11430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None/>
                      <a:defRPr sz="2000">
                        <a:solidFill>
                          <a:schemeClr val="bg1"/>
                        </a:solidFill>
                      </a:defRPr>
                    </a:lvl3pPr>
                    <a:lvl4pPr marL="16002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None/>
                      <a:defRPr>
                        <a:solidFill>
                          <a:schemeClr val="bg1"/>
                        </a:solidFill>
                      </a:defRPr>
                    </a:lvl4pPr>
                    <a:lvl5pPr marL="20574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None/>
                      <a:defRPr>
                        <a:solidFill>
                          <a:schemeClr val="bg1"/>
                        </a:solidFill>
                      </a:defRPr>
                    </a:lvl5pPr>
                    <a:lvl6pPr marL="25146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</a:lvl6pPr>
                    <a:lvl7pPr marL="29718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</a:lvl7pPr>
                    <a:lvl8pPr marL="34290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</a:lvl8pPr>
                    <a:lvl9pPr marL="38862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</a:lvl9pPr>
                  </a:lstStyle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600"/>
                      </a:spcAft>
                      <a:buClrTx/>
                      <a:buSzTx/>
                      <a:buFont typeface="Arial" panose="020B0604020202020204" pitchFamily="34" charset="0"/>
                      <a:buNone/>
                      <a:tabLst/>
                      <a:defRPr/>
                    </a:pPr>
                    <a:endPara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5"/>
                      </a:solidFill>
                      <a:effectLst/>
                      <a:uLnTx/>
                      <a:uFillTx/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endParaRPr>
                  </a:p>
                </p:txBody>
              </p:sp>
              <p:grpSp>
                <p:nvGrpSpPr>
                  <p:cNvPr id="1372" name="Group 1371">
                    <a:extLst>
                      <a:ext uri="{FF2B5EF4-FFF2-40B4-BE49-F238E27FC236}">
                        <a16:creationId xmlns:a16="http://schemas.microsoft.com/office/drawing/2014/main" id="{57FDDF54-92AB-D0FD-A73C-03C3CE72345F}"/>
                      </a:ext>
                    </a:extLst>
                  </p:cNvPr>
                  <p:cNvGrpSpPr/>
                  <p:nvPr/>
                </p:nvGrpSpPr>
                <p:grpSpPr>
                  <a:xfrm>
                    <a:off x="5679357" y="3825896"/>
                    <a:ext cx="187191" cy="316694"/>
                    <a:chOff x="6006110" y="5194320"/>
                    <a:chExt cx="319504" cy="540544"/>
                  </a:xfrm>
                </p:grpSpPr>
                <p:sp>
                  <p:nvSpPr>
                    <p:cNvPr id="1373" name="Arrow: Up 1372">
                      <a:extLst>
                        <a:ext uri="{FF2B5EF4-FFF2-40B4-BE49-F238E27FC236}">
                          <a16:creationId xmlns:a16="http://schemas.microsoft.com/office/drawing/2014/main" id="{E45018F9-77B1-49DB-C6BC-14E0A4537BF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06110" y="5194320"/>
                      <a:ext cx="319504" cy="540544"/>
                    </a:xfrm>
                    <a:prstGeom prst="upArrow">
                      <a:avLst>
                        <a:gd name="adj1" fmla="val 53887"/>
                        <a:gd name="adj2" fmla="val 54535"/>
                      </a:avLst>
                    </a:prstGeom>
                    <a:solidFill>
                      <a:schemeClr val="accent5"/>
                    </a:solidFill>
                    <a:ln>
                      <a:solidFill>
                        <a:schemeClr val="accent5"/>
                      </a:solidFill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p:txBody>
                </p:sp>
                <p:pic>
                  <p:nvPicPr>
                    <p:cNvPr id="1374" name="Graphic 1373">
                      <a:extLst>
                        <a:ext uri="{FF2B5EF4-FFF2-40B4-BE49-F238E27FC236}">
                          <a16:creationId xmlns:a16="http://schemas.microsoft.com/office/drawing/2014/main" id="{5CC7A01E-E2FB-ED82-1F04-27DD371F17A4}"/>
                        </a:ext>
                      </a:extLst>
                    </p:cNvPr>
                    <p:cNvPicPr>
                      <a:picLocks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rcRect l="22946" t="22946" r="22946" b="22946"/>
                    <a:stretch/>
                  </p:blipFill>
                  <p:spPr>
                    <a:xfrm>
                      <a:off x="6071821" y="5373519"/>
                      <a:ext cx="188079" cy="188079"/>
                    </a:xfrm>
                    <a:prstGeom prst="rect">
                      <a:avLst/>
                    </a:prstGeom>
                  </p:spPr>
                </p:pic>
              </p:grpSp>
            </p:grpSp>
            <p:sp>
              <p:nvSpPr>
                <p:cNvPr id="1368" name="TextBox 1367">
                  <a:extLst>
                    <a:ext uri="{FF2B5EF4-FFF2-40B4-BE49-F238E27FC236}">
                      <a16:creationId xmlns:a16="http://schemas.microsoft.com/office/drawing/2014/main" id="{9DE255DC-4ADE-8964-53BA-D4DFEFB66BFB}"/>
                    </a:ext>
                  </a:extLst>
                </p:cNvPr>
                <p:cNvSpPr txBox="1"/>
                <p:nvPr/>
              </p:nvSpPr>
              <p:spPr>
                <a:xfrm>
                  <a:off x="5550074" y="4196031"/>
                  <a:ext cx="863624" cy="369332"/>
                </a:xfrm>
                <a:prstGeom prst="rect">
                  <a:avLst/>
                </a:prstGeom>
                <a:noFill/>
              </p:spPr>
              <p:txBody>
                <a:bodyPr wrap="square" lIns="0" tIns="45720" rIns="0" bIns="45720" anchor="t">
                  <a:spAutoFit/>
                </a:bodyPr>
                <a:lstStyle/>
                <a:p>
                  <a:pPr algn="ctr" defTabSz="457200">
                    <a:spcAft>
                      <a:spcPts val="600"/>
                    </a:spcAft>
                    <a:defRPr/>
                  </a:pPr>
                  <a:r>
                    <a:rPr lang="en-US" sz="900" dirty="0">
                      <a:solidFill>
                        <a:srgbClr val="0111A2"/>
                      </a:solidFill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rPr>
                    <a:t>Defects Found  in QA</a:t>
                  </a:r>
                  <a:endParaRPr lang="en-US" sz="900" b="0" i="0" u="none" strike="noStrike" kern="1200" cap="none" spc="0" normalizeH="0" baseline="0" dirty="0">
                    <a:ln>
                      <a:noFill/>
                    </a:ln>
                    <a:solidFill>
                      <a:srgbClr val="0111A2"/>
                    </a:solidFill>
                    <a:effectLst/>
                    <a:uLnTx/>
                    <a:uFillTx/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endParaRPr>
                </a:p>
              </p:txBody>
            </p:sp>
          </p:grpSp>
          <p:grpSp>
            <p:nvGrpSpPr>
              <p:cNvPr id="1352" name="Group 1351">
                <a:extLst>
                  <a:ext uri="{FF2B5EF4-FFF2-40B4-BE49-F238E27FC236}">
                    <a16:creationId xmlns:a16="http://schemas.microsoft.com/office/drawing/2014/main" id="{0032C898-FCF9-A0D5-C02D-71FA0F56098D}"/>
                  </a:ext>
                </a:extLst>
              </p:cNvPr>
              <p:cNvGrpSpPr/>
              <p:nvPr/>
            </p:nvGrpSpPr>
            <p:grpSpPr>
              <a:xfrm>
                <a:off x="6450354" y="3576397"/>
                <a:ext cx="1044000" cy="816495"/>
                <a:chOff x="6450354" y="3748868"/>
                <a:chExt cx="1044000" cy="816495"/>
              </a:xfrm>
            </p:grpSpPr>
            <p:grpSp>
              <p:nvGrpSpPr>
                <p:cNvPr id="1353" name="Group 1352">
                  <a:extLst>
                    <a:ext uri="{FF2B5EF4-FFF2-40B4-BE49-F238E27FC236}">
                      <a16:creationId xmlns:a16="http://schemas.microsoft.com/office/drawing/2014/main" id="{08034D79-7D36-7C9D-3A31-28B983A54F7D}"/>
                    </a:ext>
                  </a:extLst>
                </p:cNvPr>
                <p:cNvGrpSpPr/>
                <p:nvPr/>
              </p:nvGrpSpPr>
              <p:grpSpPr>
                <a:xfrm>
                  <a:off x="6763420" y="3748868"/>
                  <a:ext cx="417868" cy="418618"/>
                  <a:chOff x="6744002" y="3774934"/>
                  <a:chExt cx="417868" cy="418618"/>
                </a:xfrm>
              </p:grpSpPr>
              <p:sp>
                <p:nvSpPr>
                  <p:cNvPr id="1357" name="Text Placeholder 1">
                    <a:extLst>
                      <a:ext uri="{FF2B5EF4-FFF2-40B4-BE49-F238E27FC236}">
                        <a16:creationId xmlns:a16="http://schemas.microsoft.com/office/drawing/2014/main" id="{3F67C987-E8AF-BE31-53B6-9C4E22FBED03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>
                  <a:xfrm>
                    <a:off x="6744002" y="3774934"/>
                    <a:ext cx="417868" cy="418618"/>
                  </a:xfrm>
                  <a:prstGeom prst="ellipse">
                    <a:avLst/>
                  </a:prstGeom>
                  <a:solidFill>
                    <a:schemeClr val="accent5">
                      <a:lumMod val="20000"/>
                      <a:lumOff val="80000"/>
                    </a:schemeClr>
                  </a:solidFill>
                  <a:ln>
                    <a:noFill/>
                  </a:ln>
                </p:spPr>
                <p:txBody>
                  <a:bodyPr vert="horz" wrap="none" lIns="0" tIns="45720" rIns="0" bIns="45720" rtlCol="0" anchor="ctr">
                    <a:noAutofit/>
                  </a:bodyPr>
                  <a:lstStyle>
                    <a:lvl1pPr indent="0">
                      <a:lnSpc>
                        <a:spcPct val="90000"/>
                      </a:lnSpc>
                      <a:spcBef>
                        <a:spcPts val="0"/>
                      </a:spcBef>
                      <a:buFont typeface="Arial" panose="020B0604020202020204" pitchFamily="34" charset="0"/>
                      <a:buNone/>
                      <a:defRPr sz="2400">
                        <a:solidFill>
                          <a:srgbClr val="002060"/>
                        </a:solidFill>
                        <a:latin typeface="Open Sans SemiBold" panose="020B0706030804020204" pitchFamily="34" charset="0"/>
                        <a:ea typeface="Open Sans SemiBold" panose="020B0706030804020204" pitchFamily="34" charset="0"/>
                        <a:cs typeface="Open Sans SemiBold" panose="020B0706030804020204" pitchFamily="34" charset="0"/>
                      </a:defRPr>
                    </a:lvl1pPr>
                    <a:lvl2pPr marL="6858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None/>
                      <a:defRPr sz="2400">
                        <a:solidFill>
                          <a:schemeClr val="bg1"/>
                        </a:solidFill>
                      </a:defRPr>
                    </a:lvl2pPr>
                    <a:lvl3pPr marL="11430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None/>
                      <a:defRPr sz="2000">
                        <a:solidFill>
                          <a:schemeClr val="bg1"/>
                        </a:solidFill>
                      </a:defRPr>
                    </a:lvl3pPr>
                    <a:lvl4pPr marL="16002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None/>
                      <a:defRPr>
                        <a:solidFill>
                          <a:schemeClr val="bg1"/>
                        </a:solidFill>
                      </a:defRPr>
                    </a:lvl4pPr>
                    <a:lvl5pPr marL="20574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None/>
                      <a:defRPr>
                        <a:solidFill>
                          <a:schemeClr val="bg1"/>
                        </a:solidFill>
                      </a:defRPr>
                    </a:lvl5pPr>
                    <a:lvl6pPr marL="25146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</a:lvl6pPr>
                    <a:lvl7pPr marL="29718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</a:lvl7pPr>
                    <a:lvl8pPr marL="34290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</a:lvl8pPr>
                    <a:lvl9pPr marL="38862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</a:lvl9pPr>
                  </a:lstStyle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600"/>
                      </a:spcAft>
                      <a:buClrTx/>
                      <a:buSzTx/>
                      <a:buFont typeface="Arial" panose="020B0604020202020204" pitchFamily="34" charset="0"/>
                      <a:buNone/>
                      <a:tabLst/>
                      <a:defRPr/>
                    </a:pPr>
                    <a:endPara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5"/>
                      </a:solidFill>
                      <a:effectLst/>
                      <a:uLnTx/>
                      <a:uFillTx/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endParaRPr>
                  </a:p>
                </p:txBody>
              </p:sp>
              <p:grpSp>
                <p:nvGrpSpPr>
                  <p:cNvPr id="1362" name="Group 1361">
                    <a:extLst>
                      <a:ext uri="{FF2B5EF4-FFF2-40B4-BE49-F238E27FC236}">
                        <a16:creationId xmlns:a16="http://schemas.microsoft.com/office/drawing/2014/main" id="{AD8B5EFA-2C84-C335-451E-818EA3A7DD1F}"/>
                      </a:ext>
                    </a:extLst>
                  </p:cNvPr>
                  <p:cNvGrpSpPr/>
                  <p:nvPr/>
                </p:nvGrpSpPr>
                <p:grpSpPr>
                  <a:xfrm>
                    <a:off x="6859341" y="3825896"/>
                    <a:ext cx="187191" cy="316694"/>
                    <a:chOff x="7097796" y="5194322"/>
                    <a:chExt cx="319504" cy="540544"/>
                  </a:xfrm>
                </p:grpSpPr>
                <p:sp>
                  <p:nvSpPr>
                    <p:cNvPr id="1363" name="Arrow: Up 1362">
                      <a:extLst>
                        <a:ext uri="{FF2B5EF4-FFF2-40B4-BE49-F238E27FC236}">
                          <a16:creationId xmlns:a16="http://schemas.microsoft.com/office/drawing/2014/main" id="{ABA4CECE-28DB-F388-A7E3-572F6CC991FB}"/>
                        </a:ext>
                      </a:extLst>
                    </p:cNvPr>
                    <p:cNvSpPr/>
                    <p:nvPr/>
                  </p:nvSpPr>
                  <p:spPr>
                    <a:xfrm rot="10800000">
                      <a:off x="7097796" y="5194322"/>
                      <a:ext cx="319504" cy="540544"/>
                    </a:xfrm>
                    <a:prstGeom prst="upArrow">
                      <a:avLst>
                        <a:gd name="adj1" fmla="val 53887"/>
                        <a:gd name="adj2" fmla="val 54535"/>
                      </a:avLst>
                    </a:prstGeom>
                    <a:solidFill>
                      <a:schemeClr val="accent5"/>
                    </a:solidFill>
                    <a:ln>
                      <a:solidFill>
                        <a:schemeClr val="accent5"/>
                      </a:solidFill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p:txBody>
                </p:sp>
                <p:sp>
                  <p:nvSpPr>
                    <p:cNvPr id="1364" name="Rectangle 1363">
                      <a:extLst>
                        <a:ext uri="{FF2B5EF4-FFF2-40B4-BE49-F238E27FC236}">
                          <a16:creationId xmlns:a16="http://schemas.microsoft.com/office/drawing/2014/main" id="{113B8120-581C-E5F8-C20D-A6C359215D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92822" y="5451361"/>
                      <a:ext cx="129450" cy="32401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</p:grpSp>
            </p:grpSp>
            <p:sp>
              <p:nvSpPr>
                <p:cNvPr id="1354" name="TextBox 1353">
                  <a:extLst>
                    <a:ext uri="{FF2B5EF4-FFF2-40B4-BE49-F238E27FC236}">
                      <a16:creationId xmlns:a16="http://schemas.microsoft.com/office/drawing/2014/main" id="{9F9F4523-10B6-2E5E-4A01-A37607A3A1A4}"/>
                    </a:ext>
                  </a:extLst>
                </p:cNvPr>
                <p:cNvSpPr txBox="1"/>
                <p:nvPr/>
              </p:nvSpPr>
              <p:spPr>
                <a:xfrm>
                  <a:off x="6450354" y="4196031"/>
                  <a:ext cx="1044000" cy="369332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t">
                  <a:spAutoFit/>
                </a:bodyPr>
                <a:lstStyle/>
                <a:p>
                  <a:pPr algn="ctr" defTabSz="457200">
                    <a:spcAft>
                      <a:spcPts val="600"/>
                    </a:spcAft>
                    <a:defRPr/>
                  </a:pPr>
                  <a:r>
                    <a:rPr lang="en-US" sz="900" dirty="0">
                      <a:solidFill>
                        <a:srgbClr val="0111A2"/>
                      </a:solidFill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rPr>
                    <a:t>Defects in Production</a:t>
                  </a:r>
                  <a:endParaRPr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111A2"/>
                    </a:solidFill>
                    <a:effectLst/>
                    <a:uLnTx/>
                    <a:uFillTx/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endParaRPr>
                </a:p>
              </p:txBody>
            </p:sp>
          </p:grp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C7610FD-5B71-0309-025A-F49E8B09148C}"/>
                </a:ext>
              </a:extLst>
            </p:cNvPr>
            <p:cNvGrpSpPr/>
            <p:nvPr/>
          </p:nvGrpSpPr>
          <p:grpSpPr>
            <a:xfrm>
              <a:off x="4461764" y="1699845"/>
              <a:ext cx="3040244" cy="904931"/>
              <a:chOff x="4461764" y="2133664"/>
              <a:chExt cx="3040244" cy="904931"/>
            </a:xfrm>
          </p:grpSpPr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59F4E0C7-E9FF-1399-6A62-0904B946FD0D}"/>
                  </a:ext>
                </a:extLst>
              </p:cNvPr>
              <p:cNvGrpSpPr/>
              <p:nvPr/>
            </p:nvGrpSpPr>
            <p:grpSpPr>
              <a:xfrm>
                <a:off x="4461764" y="2133664"/>
                <a:ext cx="1059307" cy="766431"/>
                <a:chOff x="4461764" y="1698476"/>
                <a:chExt cx="1059307" cy="766431"/>
              </a:xfrm>
            </p:grpSpPr>
            <p:pic>
              <p:nvPicPr>
                <p:cNvPr id="1344" name="Graphic 1343" descr="Boardroom outline">
                  <a:extLst>
                    <a:ext uri="{FF2B5EF4-FFF2-40B4-BE49-F238E27FC236}">
                      <a16:creationId xmlns:a16="http://schemas.microsoft.com/office/drawing/2014/main" id="{CC27907B-91CE-902F-5699-556B19DD40C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717465" y="1698476"/>
                  <a:ext cx="591245" cy="591245"/>
                </a:xfrm>
                <a:prstGeom prst="rect">
                  <a:avLst/>
                </a:prstGeom>
              </p:spPr>
            </p:pic>
            <p:sp>
              <p:nvSpPr>
                <p:cNvPr id="1345" name="TextBox 1344">
                  <a:extLst>
                    <a:ext uri="{FF2B5EF4-FFF2-40B4-BE49-F238E27FC236}">
                      <a16:creationId xmlns:a16="http://schemas.microsoft.com/office/drawing/2014/main" id="{77F35BD7-E0CE-34FB-3449-BB73642C4F3E}"/>
                    </a:ext>
                  </a:extLst>
                </p:cNvPr>
                <p:cNvSpPr txBox="1"/>
                <p:nvPr/>
              </p:nvSpPr>
              <p:spPr>
                <a:xfrm>
                  <a:off x="4461764" y="2234075"/>
                  <a:ext cx="1059307" cy="230832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t">
                  <a:spAutoFit/>
                </a:bodyPr>
                <a:lstStyle/>
                <a:p>
                  <a:pPr algn="ctr" defTabSz="457200">
                    <a:spcAft>
                      <a:spcPts val="600"/>
                    </a:spcAft>
                    <a:defRPr/>
                  </a:pPr>
                  <a:r>
                    <a:rPr lang="en-US" sz="900" dirty="0">
                      <a:solidFill>
                        <a:srgbClr val="0111A2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rPr>
                    <a:t>Tech Lead</a:t>
                  </a:r>
                  <a:endParaRPr lang="en-US" sz="900" b="0" i="0" u="none" strike="noStrike" kern="1200" cap="none" spc="0" normalizeH="0" baseline="0" dirty="0">
                    <a:ln>
                      <a:noFill/>
                    </a:ln>
                    <a:solidFill>
                      <a:srgbClr val="0111A2"/>
                    </a:solidFill>
                    <a:effectLst/>
                    <a:uLnTx/>
                    <a:uFillTx/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endParaRPr>
                </a:p>
              </p:txBody>
            </p:sp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DA9ABC45-9829-D2BE-7414-2ECD64B85C33}"/>
                  </a:ext>
                </a:extLst>
              </p:cNvPr>
              <p:cNvGrpSpPr/>
              <p:nvPr/>
            </p:nvGrpSpPr>
            <p:grpSpPr>
              <a:xfrm>
                <a:off x="5452233" y="2178718"/>
                <a:ext cx="1059307" cy="721377"/>
                <a:chOff x="5452233" y="1743530"/>
                <a:chExt cx="1059307" cy="721377"/>
              </a:xfrm>
            </p:grpSpPr>
            <p:pic>
              <p:nvPicPr>
                <p:cNvPr id="59" name="Graphic 58" descr="Customer review outline">
                  <a:extLst>
                    <a:ext uri="{FF2B5EF4-FFF2-40B4-BE49-F238E27FC236}">
                      <a16:creationId xmlns:a16="http://schemas.microsoft.com/office/drawing/2014/main" id="{8B9D423F-F1D2-1576-3F50-31DDBEF6483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53644" y="1743530"/>
                  <a:ext cx="501136" cy="501136"/>
                </a:xfrm>
                <a:prstGeom prst="rect">
                  <a:avLst/>
                </a:prstGeom>
              </p:spPr>
            </p:pic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6DC85053-4D95-9E10-2A69-FC6DA110D3F5}"/>
                    </a:ext>
                  </a:extLst>
                </p:cNvPr>
                <p:cNvSpPr txBox="1"/>
                <p:nvPr/>
              </p:nvSpPr>
              <p:spPr>
                <a:xfrm>
                  <a:off x="5452233" y="2234075"/>
                  <a:ext cx="1059307" cy="230832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t">
                  <a:spAutoFit/>
                </a:bodyPr>
                <a:lstStyle/>
                <a:p>
                  <a:pPr algn="ctr" defTabSz="457200">
                    <a:spcAft>
                      <a:spcPts val="600"/>
                    </a:spcAft>
                    <a:defRPr/>
                  </a:pPr>
                  <a:r>
                    <a:rPr lang="en-US" sz="900" dirty="0">
                      <a:solidFill>
                        <a:srgbClr val="0111A2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rPr>
                    <a:t>Application SME</a:t>
                  </a:r>
                  <a:endParaRPr lang="en-US" sz="900" b="0" i="0" u="none" strike="noStrike" kern="1200" cap="none" spc="0" normalizeH="0" baseline="0" dirty="0">
                    <a:ln>
                      <a:noFill/>
                    </a:ln>
                    <a:solidFill>
                      <a:srgbClr val="0111A2"/>
                    </a:solidFill>
                    <a:effectLst/>
                    <a:uLnTx/>
                    <a:uFillTx/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endParaRPr>
                </a:p>
              </p:txBody>
            </p:sp>
          </p:grp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94479962-757E-5D34-348A-32CC5E1C08A5}"/>
                  </a:ext>
                </a:extLst>
              </p:cNvPr>
              <p:cNvGrpSpPr/>
              <p:nvPr/>
            </p:nvGrpSpPr>
            <p:grpSpPr>
              <a:xfrm>
                <a:off x="6442701" y="2183294"/>
                <a:ext cx="1059307" cy="855301"/>
                <a:chOff x="6442701" y="1748106"/>
                <a:chExt cx="1059307" cy="855301"/>
              </a:xfrm>
            </p:grpSpPr>
            <p:pic>
              <p:nvPicPr>
                <p:cNvPr id="38" name="Graphic 37" descr="Meeting outline">
                  <a:extLst>
                    <a:ext uri="{FF2B5EF4-FFF2-40B4-BE49-F238E27FC236}">
                      <a16:creationId xmlns:a16="http://schemas.microsoft.com/office/drawing/2014/main" id="{4C54B98A-0342-8F34-EC6D-98CA78BCF7B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753264" y="1748106"/>
                  <a:ext cx="491984" cy="491984"/>
                </a:xfrm>
                <a:prstGeom prst="rect">
                  <a:avLst/>
                </a:prstGeom>
              </p:spPr>
            </p:pic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7E842A3C-458C-1DBD-EA16-C0F4629D5EC9}"/>
                    </a:ext>
                  </a:extLst>
                </p:cNvPr>
                <p:cNvSpPr txBox="1"/>
                <p:nvPr/>
              </p:nvSpPr>
              <p:spPr>
                <a:xfrm>
                  <a:off x="6442701" y="2234075"/>
                  <a:ext cx="1059307" cy="369332"/>
                </a:xfrm>
                <a:prstGeom prst="rect">
                  <a:avLst/>
                </a:prstGeom>
                <a:noFill/>
              </p:spPr>
              <p:txBody>
                <a:bodyPr wrap="square" lIns="0" tIns="45720" rIns="0" bIns="45720" anchor="t">
                  <a:spAutoFit/>
                </a:bodyPr>
                <a:lstStyle/>
                <a:p>
                  <a:pPr algn="ctr" defTabSz="457200">
                    <a:spcAft>
                      <a:spcPts val="600"/>
                    </a:spcAft>
                    <a:defRPr/>
                  </a:pPr>
                  <a:r>
                    <a:rPr lang="en-US" sz="900" dirty="0">
                      <a:solidFill>
                        <a:srgbClr val="0111A2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rPr>
                    <a:t>Product + Development</a:t>
                  </a:r>
                  <a:endParaRPr lang="en-US" sz="900" b="0" i="0" u="none" strike="noStrike" kern="1200" cap="none" spc="0" normalizeH="0" baseline="0" dirty="0">
                    <a:ln>
                      <a:noFill/>
                    </a:ln>
                    <a:solidFill>
                      <a:srgbClr val="0111A2"/>
                    </a:solidFill>
                    <a:effectLst/>
                    <a:uLnTx/>
                    <a:uFillTx/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endParaRPr>
                </a:p>
              </p:txBody>
            </p:sp>
          </p:grp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2F02531-8352-17A0-3354-4515BABB89A4}"/>
                </a:ext>
              </a:extLst>
            </p:cNvPr>
            <p:cNvSpPr txBox="1"/>
            <p:nvPr/>
          </p:nvSpPr>
          <p:spPr>
            <a:xfrm>
              <a:off x="4510698" y="1302689"/>
              <a:ext cx="29423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111A2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Stratis Deep Design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E07A375-C385-3279-5BCD-1015E7C629B2}"/>
                </a:ext>
              </a:extLst>
            </p:cNvPr>
            <p:cNvSpPr txBox="1"/>
            <p:nvPr/>
          </p:nvSpPr>
          <p:spPr>
            <a:xfrm>
              <a:off x="5120013" y="2681138"/>
              <a:ext cx="1723747" cy="8771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sz="900" dirty="0">
                  <a:solidFill>
                    <a:srgbClr val="0111A2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Staggered Review</a:t>
              </a:r>
            </a:p>
            <a:p>
              <a:pPr marL="252000" indent="-144000">
                <a:spcBef>
                  <a:spcPts val="300"/>
                </a:spcBef>
                <a:spcAft>
                  <a:spcPts val="300"/>
                </a:spcAft>
                <a:buFont typeface="Wingdings" panose="05000000000000000000" pitchFamily="2" charset="2"/>
                <a:buChar char="ü"/>
              </a:pPr>
              <a:r>
                <a:rPr lang="en-US" sz="900" dirty="0">
                  <a:solidFill>
                    <a:srgbClr val="0111A2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TC structure audit</a:t>
              </a:r>
            </a:p>
            <a:p>
              <a:pPr marL="252000" indent="-144000">
                <a:spcBef>
                  <a:spcPts val="300"/>
                </a:spcBef>
                <a:spcAft>
                  <a:spcPts val="300"/>
                </a:spcAft>
                <a:buFont typeface="Wingdings" panose="05000000000000000000" pitchFamily="2" charset="2"/>
                <a:buChar char="ü"/>
              </a:pPr>
              <a:r>
                <a:rPr lang="en-US" sz="900" dirty="0">
                  <a:solidFill>
                    <a:srgbClr val="0111A2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Full Coverage</a:t>
              </a:r>
            </a:p>
            <a:p>
              <a:pPr marL="252000" indent="-144000">
                <a:spcBef>
                  <a:spcPts val="300"/>
                </a:spcBef>
                <a:spcAft>
                  <a:spcPts val="300"/>
                </a:spcAft>
                <a:buFont typeface="Wingdings" panose="05000000000000000000" pitchFamily="2" charset="2"/>
                <a:buChar char="ü"/>
              </a:pPr>
              <a:r>
                <a:rPr lang="en-US" sz="900" dirty="0">
                  <a:solidFill>
                    <a:srgbClr val="0111A2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Feedback and approval</a:t>
              </a:r>
            </a:p>
          </p:txBody>
        </p:sp>
      </p:grpSp>
      <p:grpSp>
        <p:nvGrpSpPr>
          <p:cNvPr id="1416" name="Group 1415">
            <a:extLst>
              <a:ext uri="{FF2B5EF4-FFF2-40B4-BE49-F238E27FC236}">
                <a16:creationId xmlns:a16="http://schemas.microsoft.com/office/drawing/2014/main" id="{4F8EB6FC-3C40-6A10-1023-B59E6C46569B}"/>
              </a:ext>
            </a:extLst>
          </p:cNvPr>
          <p:cNvGrpSpPr/>
          <p:nvPr/>
        </p:nvGrpSpPr>
        <p:grpSpPr>
          <a:xfrm>
            <a:off x="3052368" y="5721837"/>
            <a:ext cx="8150304" cy="523897"/>
            <a:chOff x="2149499" y="4952711"/>
            <a:chExt cx="8150304" cy="523897"/>
          </a:xfrm>
        </p:grpSpPr>
        <p:grpSp>
          <p:nvGrpSpPr>
            <p:cNvPr id="1417" name="Group 1416">
              <a:extLst>
                <a:ext uri="{FF2B5EF4-FFF2-40B4-BE49-F238E27FC236}">
                  <a16:creationId xmlns:a16="http://schemas.microsoft.com/office/drawing/2014/main" id="{5F6E64B4-5C2E-304E-14C8-95BE3185B367}"/>
                </a:ext>
              </a:extLst>
            </p:cNvPr>
            <p:cNvGrpSpPr/>
            <p:nvPr/>
          </p:nvGrpSpPr>
          <p:grpSpPr>
            <a:xfrm>
              <a:off x="2149499" y="4952711"/>
              <a:ext cx="2704220" cy="523897"/>
              <a:chOff x="2395032" y="4952711"/>
              <a:chExt cx="2704220" cy="523897"/>
            </a:xfrm>
          </p:grpSpPr>
          <p:sp>
            <p:nvSpPr>
              <p:cNvPr id="1437" name="TextBox 1436">
                <a:extLst>
                  <a:ext uri="{FF2B5EF4-FFF2-40B4-BE49-F238E27FC236}">
                    <a16:creationId xmlns:a16="http://schemas.microsoft.com/office/drawing/2014/main" id="{6FF42C44-BD7D-80CC-EDEF-FD6A65F5816C}"/>
                  </a:ext>
                </a:extLst>
              </p:cNvPr>
              <p:cNvSpPr txBox="1"/>
              <p:nvPr/>
            </p:nvSpPr>
            <p:spPr>
              <a:xfrm>
                <a:off x="3059756" y="4983827"/>
                <a:ext cx="203949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dirty="0">
                    <a:solidFill>
                      <a:srgbClr val="F86F35"/>
                    </a:solidFill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rPr>
                  <a:t>Better 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86F35"/>
                    </a:solidFill>
                    <a:effectLst/>
                    <a:uLnTx/>
                    <a:uFillTx/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rPr>
                  <a:t>reputation via fewer defects</a:t>
                </a:r>
              </a:p>
            </p:txBody>
          </p:sp>
          <p:grpSp>
            <p:nvGrpSpPr>
              <p:cNvPr id="1438" name="Group 1437">
                <a:extLst>
                  <a:ext uri="{FF2B5EF4-FFF2-40B4-BE49-F238E27FC236}">
                    <a16:creationId xmlns:a16="http://schemas.microsoft.com/office/drawing/2014/main" id="{FD204242-E8AB-1B05-1FE2-A1A622B7A7C8}"/>
                  </a:ext>
                </a:extLst>
              </p:cNvPr>
              <p:cNvGrpSpPr/>
              <p:nvPr/>
            </p:nvGrpSpPr>
            <p:grpSpPr>
              <a:xfrm>
                <a:off x="2395032" y="4952711"/>
                <a:ext cx="522958" cy="523897"/>
                <a:chOff x="2393079" y="4921744"/>
                <a:chExt cx="522958" cy="523897"/>
              </a:xfrm>
            </p:grpSpPr>
            <p:sp>
              <p:nvSpPr>
                <p:cNvPr id="1440" name="Text Placeholder 1">
                  <a:extLst>
                    <a:ext uri="{FF2B5EF4-FFF2-40B4-BE49-F238E27FC236}">
                      <a16:creationId xmlns:a16="http://schemas.microsoft.com/office/drawing/2014/main" id="{EB521829-4689-F3A3-EAE4-24BB2911C86D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2393079" y="4921744"/>
                  <a:ext cx="522958" cy="523897"/>
                </a:xfrm>
                <a:prstGeom prst="ellipse">
                  <a:avLst/>
                </a:prstGeom>
                <a:solidFill>
                  <a:srgbClr val="FFEAE7"/>
                </a:solidFill>
                <a:ln>
                  <a:noFill/>
                </a:ln>
              </p:spPr>
              <p:txBody>
                <a:bodyPr vert="horz" wrap="none" lIns="0" tIns="45720" rIns="0" bIns="45720" rtlCol="0" anchor="ctr">
                  <a:noAutofit/>
                </a:bodyPr>
                <a:lstStyle>
                  <a:lvl1pPr indent="0">
                    <a:lnSpc>
                      <a:spcPct val="90000"/>
                    </a:lnSpc>
                    <a:spcBef>
                      <a:spcPts val="0"/>
                    </a:spcBef>
                    <a:buFont typeface="Arial" panose="020B0604020202020204" pitchFamily="34" charset="0"/>
                    <a:buNone/>
                    <a:defRPr sz="2400">
                      <a:solidFill>
                        <a:srgbClr val="002060"/>
                      </a:solidFill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defRPr>
                  </a:lvl1pPr>
                  <a:lvl2pPr marL="6858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 sz="2400">
                      <a:solidFill>
                        <a:schemeClr val="bg1"/>
                      </a:solidFill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 sz="2000">
                      <a:solidFill>
                        <a:schemeClr val="bg1"/>
                      </a:solidFill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>
                      <a:solidFill>
                        <a:schemeClr val="bg1"/>
                      </a:solidFill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>
                      <a:solidFill>
                        <a:schemeClr val="bg1"/>
                      </a:solidFill>
                    </a:defRPr>
                  </a:lvl5pPr>
                  <a:lvl6pPr marL="25146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</a:lvl6pPr>
                  <a:lvl7pPr marL="29718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</a:lvl7pPr>
                  <a:lvl8pPr marL="3429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</a:lvl8pPr>
                  <a:lvl9pPr marL="3886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</a:lvl9pPr>
                </a:lstStyle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86F35"/>
                    </a:solidFill>
                    <a:effectLst/>
                    <a:uLnTx/>
                    <a:uFillTx/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endParaRPr>
                </a:p>
              </p:txBody>
            </p:sp>
            <p:pic>
              <p:nvPicPr>
                <p:cNvPr id="1441" name="Graphic 1440">
                  <a:extLst>
                    <a:ext uri="{FF2B5EF4-FFF2-40B4-BE49-F238E27FC236}">
                      <a16:creationId xmlns:a16="http://schemas.microsoft.com/office/drawing/2014/main" id="{8D91E6E5-D2DF-0FD1-D638-0F55E0EB775E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64646" y="4999522"/>
                  <a:ext cx="372050" cy="37205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1419" name="Group 1418">
              <a:extLst>
                <a:ext uri="{FF2B5EF4-FFF2-40B4-BE49-F238E27FC236}">
                  <a16:creationId xmlns:a16="http://schemas.microsoft.com/office/drawing/2014/main" id="{CFFE3795-279D-9013-2B61-BA5DBC766F5D}"/>
                </a:ext>
              </a:extLst>
            </p:cNvPr>
            <p:cNvGrpSpPr/>
            <p:nvPr/>
          </p:nvGrpSpPr>
          <p:grpSpPr>
            <a:xfrm>
              <a:off x="4732316" y="4952711"/>
              <a:ext cx="2704220" cy="523897"/>
              <a:chOff x="4977849" y="4979073"/>
              <a:chExt cx="2704220" cy="523897"/>
            </a:xfrm>
          </p:grpSpPr>
          <p:sp>
            <p:nvSpPr>
              <p:cNvPr id="1426" name="TextBox 1425">
                <a:extLst>
                  <a:ext uri="{FF2B5EF4-FFF2-40B4-BE49-F238E27FC236}">
                    <a16:creationId xmlns:a16="http://schemas.microsoft.com/office/drawing/2014/main" id="{EE47DFE4-7BE4-2030-2E95-6BBCAACCCB20}"/>
                  </a:ext>
                </a:extLst>
              </p:cNvPr>
              <p:cNvSpPr txBox="1"/>
              <p:nvPr/>
            </p:nvSpPr>
            <p:spPr>
              <a:xfrm>
                <a:off x="5642573" y="5102522"/>
                <a:ext cx="2039496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dirty="0">
                    <a:solidFill>
                      <a:srgbClr val="F86F35"/>
                    </a:solidFill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rPr>
                  <a:t>Faster Time to Market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86F35"/>
                  </a:solidFill>
                  <a:effectLst/>
                  <a:uLnTx/>
                  <a:uFillTx/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endParaRPr>
              </a:p>
            </p:txBody>
          </p:sp>
          <p:grpSp>
            <p:nvGrpSpPr>
              <p:cNvPr id="1427" name="Group 1426">
                <a:extLst>
                  <a:ext uri="{FF2B5EF4-FFF2-40B4-BE49-F238E27FC236}">
                    <a16:creationId xmlns:a16="http://schemas.microsoft.com/office/drawing/2014/main" id="{6ED60A70-292C-91BC-240F-8FC80D187125}"/>
                  </a:ext>
                </a:extLst>
              </p:cNvPr>
              <p:cNvGrpSpPr/>
              <p:nvPr/>
            </p:nvGrpSpPr>
            <p:grpSpPr>
              <a:xfrm>
                <a:off x="4977849" y="4979073"/>
                <a:ext cx="522958" cy="523897"/>
                <a:chOff x="4975896" y="5116878"/>
                <a:chExt cx="522958" cy="523897"/>
              </a:xfrm>
            </p:grpSpPr>
            <p:sp>
              <p:nvSpPr>
                <p:cNvPr id="1429" name="Text Placeholder 1">
                  <a:extLst>
                    <a:ext uri="{FF2B5EF4-FFF2-40B4-BE49-F238E27FC236}">
                      <a16:creationId xmlns:a16="http://schemas.microsoft.com/office/drawing/2014/main" id="{34D0F9DF-1A68-CC67-E042-D5FF7B0F9CE9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4975896" y="5116878"/>
                  <a:ext cx="522958" cy="523897"/>
                </a:xfrm>
                <a:prstGeom prst="ellipse">
                  <a:avLst/>
                </a:prstGeom>
                <a:solidFill>
                  <a:srgbClr val="FFEAE7"/>
                </a:solidFill>
                <a:ln>
                  <a:noFill/>
                </a:ln>
              </p:spPr>
              <p:txBody>
                <a:bodyPr vert="horz" wrap="none" lIns="0" tIns="45720" rIns="0" bIns="45720" rtlCol="0" anchor="ctr">
                  <a:noAutofit/>
                </a:bodyPr>
                <a:lstStyle>
                  <a:lvl1pPr indent="0">
                    <a:lnSpc>
                      <a:spcPct val="90000"/>
                    </a:lnSpc>
                    <a:spcBef>
                      <a:spcPts val="0"/>
                    </a:spcBef>
                    <a:buFont typeface="Arial" panose="020B0604020202020204" pitchFamily="34" charset="0"/>
                    <a:buNone/>
                    <a:defRPr sz="2400">
                      <a:solidFill>
                        <a:srgbClr val="002060"/>
                      </a:solidFill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defRPr>
                  </a:lvl1pPr>
                  <a:lvl2pPr marL="6858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 sz="2400">
                      <a:solidFill>
                        <a:schemeClr val="bg1"/>
                      </a:solidFill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 sz="2000">
                      <a:solidFill>
                        <a:schemeClr val="bg1"/>
                      </a:solidFill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>
                      <a:solidFill>
                        <a:schemeClr val="bg1"/>
                      </a:solidFill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>
                      <a:solidFill>
                        <a:schemeClr val="bg1"/>
                      </a:solidFill>
                    </a:defRPr>
                  </a:lvl5pPr>
                  <a:lvl6pPr marL="25146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</a:lvl6pPr>
                  <a:lvl7pPr marL="29718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</a:lvl7pPr>
                  <a:lvl8pPr marL="3429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</a:lvl8pPr>
                  <a:lvl9pPr marL="3886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</a:lvl9pPr>
                </a:lstStyle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86F35"/>
                    </a:solidFill>
                    <a:effectLst/>
                    <a:uLnTx/>
                    <a:uFillTx/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endParaRPr>
                </a:p>
              </p:txBody>
            </p:sp>
            <p:pic>
              <p:nvPicPr>
                <p:cNvPr id="1436" name="Graphic 1435">
                  <a:extLst>
                    <a:ext uri="{FF2B5EF4-FFF2-40B4-BE49-F238E27FC236}">
                      <a16:creationId xmlns:a16="http://schemas.microsoft.com/office/drawing/2014/main" id="{EAB79759-5399-C79E-B7BD-974ABAF0B767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73294" y="5215169"/>
                  <a:ext cx="339608" cy="339608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1420" name="Group 1419">
              <a:extLst>
                <a:ext uri="{FF2B5EF4-FFF2-40B4-BE49-F238E27FC236}">
                  <a16:creationId xmlns:a16="http://schemas.microsoft.com/office/drawing/2014/main" id="{B8A14C8B-11B7-A063-BA86-141DC23F79F0}"/>
                </a:ext>
              </a:extLst>
            </p:cNvPr>
            <p:cNvGrpSpPr/>
            <p:nvPr/>
          </p:nvGrpSpPr>
          <p:grpSpPr>
            <a:xfrm>
              <a:off x="7595583" y="4952711"/>
              <a:ext cx="2704220" cy="523897"/>
              <a:chOff x="7841116" y="4952711"/>
              <a:chExt cx="2704220" cy="523897"/>
            </a:xfrm>
          </p:grpSpPr>
          <p:sp>
            <p:nvSpPr>
              <p:cNvPr id="1422" name="TextBox 1421">
                <a:extLst>
                  <a:ext uri="{FF2B5EF4-FFF2-40B4-BE49-F238E27FC236}">
                    <a16:creationId xmlns:a16="http://schemas.microsoft.com/office/drawing/2014/main" id="{E2C3CE57-362D-F458-8338-4A6CD93222AC}"/>
                  </a:ext>
                </a:extLst>
              </p:cNvPr>
              <p:cNvSpPr txBox="1"/>
              <p:nvPr/>
            </p:nvSpPr>
            <p:spPr>
              <a:xfrm>
                <a:off x="8505840" y="4983827"/>
                <a:ext cx="203949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dirty="0">
                    <a:solidFill>
                      <a:srgbClr val="F86F35"/>
                    </a:solidFill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rPr>
                  <a:t>Save Time, Money &amp; Efforts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86F35"/>
                  </a:solidFill>
                  <a:effectLst/>
                  <a:uLnTx/>
                  <a:uFillTx/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endParaRPr>
              </a:p>
            </p:txBody>
          </p:sp>
          <p:grpSp>
            <p:nvGrpSpPr>
              <p:cNvPr id="1423" name="Group 1422">
                <a:extLst>
                  <a:ext uri="{FF2B5EF4-FFF2-40B4-BE49-F238E27FC236}">
                    <a16:creationId xmlns:a16="http://schemas.microsoft.com/office/drawing/2014/main" id="{F8ECB5BE-F37E-BB30-9DD6-33E323FB639B}"/>
                  </a:ext>
                </a:extLst>
              </p:cNvPr>
              <p:cNvGrpSpPr/>
              <p:nvPr/>
            </p:nvGrpSpPr>
            <p:grpSpPr>
              <a:xfrm>
                <a:off x="7841116" y="4952711"/>
                <a:ext cx="522958" cy="523897"/>
                <a:chOff x="7843070" y="4987684"/>
                <a:chExt cx="522958" cy="523897"/>
              </a:xfrm>
            </p:grpSpPr>
            <p:sp>
              <p:nvSpPr>
                <p:cNvPr id="1424" name="Text Placeholder 1">
                  <a:extLst>
                    <a:ext uri="{FF2B5EF4-FFF2-40B4-BE49-F238E27FC236}">
                      <a16:creationId xmlns:a16="http://schemas.microsoft.com/office/drawing/2014/main" id="{97BFCDC0-8BE2-ADDD-4D8A-F3F6B5F3E346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843070" y="4987684"/>
                  <a:ext cx="522958" cy="523897"/>
                </a:xfrm>
                <a:prstGeom prst="ellipse">
                  <a:avLst/>
                </a:prstGeom>
                <a:solidFill>
                  <a:srgbClr val="FFEAE7"/>
                </a:solidFill>
                <a:ln>
                  <a:noFill/>
                </a:ln>
              </p:spPr>
              <p:txBody>
                <a:bodyPr vert="horz" wrap="none" lIns="0" tIns="45720" rIns="0" bIns="45720" rtlCol="0" anchor="ctr">
                  <a:noAutofit/>
                </a:bodyPr>
                <a:lstStyle>
                  <a:lvl1pPr indent="0">
                    <a:lnSpc>
                      <a:spcPct val="90000"/>
                    </a:lnSpc>
                    <a:spcBef>
                      <a:spcPts val="0"/>
                    </a:spcBef>
                    <a:buFont typeface="Arial" panose="020B0604020202020204" pitchFamily="34" charset="0"/>
                    <a:buNone/>
                    <a:defRPr sz="2400">
                      <a:solidFill>
                        <a:srgbClr val="002060"/>
                      </a:solidFill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defRPr>
                  </a:lvl1pPr>
                  <a:lvl2pPr marL="6858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 sz="2400">
                      <a:solidFill>
                        <a:schemeClr val="bg1"/>
                      </a:solidFill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 sz="2000">
                      <a:solidFill>
                        <a:schemeClr val="bg1"/>
                      </a:solidFill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>
                      <a:solidFill>
                        <a:schemeClr val="bg1"/>
                      </a:solidFill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>
                      <a:solidFill>
                        <a:schemeClr val="bg1"/>
                      </a:solidFill>
                    </a:defRPr>
                  </a:lvl5pPr>
                  <a:lvl6pPr marL="25146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</a:lvl6pPr>
                  <a:lvl7pPr marL="29718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</a:lvl7pPr>
                  <a:lvl8pPr marL="3429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</a:lvl8pPr>
                  <a:lvl9pPr marL="3886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</a:lvl9pPr>
                </a:lstStyle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86F35"/>
                    </a:solidFill>
                    <a:effectLst/>
                    <a:uLnTx/>
                    <a:uFillTx/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endParaRPr>
                </a:p>
              </p:txBody>
            </p:sp>
            <p:pic>
              <p:nvPicPr>
                <p:cNvPr id="1425" name="Graphic 1424">
                  <a:extLst>
                    <a:ext uri="{FF2B5EF4-FFF2-40B4-BE49-F238E27FC236}">
                      <a16:creationId xmlns:a16="http://schemas.microsoft.com/office/drawing/2014/main" id="{8657C19F-C679-56A8-8322-EE569724F1D2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8">
                  <a:extLst>
                    <a:ext uri="{96DAC541-7B7A-43D3-8B79-37D633B846F1}">
                      <asvg:svgBlip xmlns:asvg="http://schemas.microsoft.com/office/drawing/2016/SVG/main" r:embed="rId1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904742" y="5042854"/>
                  <a:ext cx="409678" cy="409678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1446" name="Group 1445">
            <a:extLst>
              <a:ext uri="{FF2B5EF4-FFF2-40B4-BE49-F238E27FC236}">
                <a16:creationId xmlns:a16="http://schemas.microsoft.com/office/drawing/2014/main" id="{2B039824-E6F4-C05E-8599-971A49EC1B0F}"/>
              </a:ext>
            </a:extLst>
          </p:cNvPr>
          <p:cNvGrpSpPr/>
          <p:nvPr/>
        </p:nvGrpSpPr>
        <p:grpSpPr>
          <a:xfrm>
            <a:off x="392156" y="2210944"/>
            <a:ext cx="3637091" cy="1175424"/>
            <a:chOff x="392156" y="2465930"/>
            <a:chExt cx="3637091" cy="1175424"/>
          </a:xfrm>
        </p:grpSpPr>
        <p:grpSp>
          <p:nvGrpSpPr>
            <p:cNvPr id="1447" name="Group 1446">
              <a:extLst>
                <a:ext uri="{FF2B5EF4-FFF2-40B4-BE49-F238E27FC236}">
                  <a16:creationId xmlns:a16="http://schemas.microsoft.com/office/drawing/2014/main" id="{0659BF66-499B-91C1-15BC-2E086E4A2506}"/>
                </a:ext>
              </a:extLst>
            </p:cNvPr>
            <p:cNvGrpSpPr/>
            <p:nvPr/>
          </p:nvGrpSpPr>
          <p:grpSpPr>
            <a:xfrm>
              <a:off x="1540591" y="2478048"/>
              <a:ext cx="1376573" cy="994029"/>
              <a:chOff x="8233560" y="5011127"/>
              <a:chExt cx="1376573" cy="994029"/>
            </a:xfrm>
          </p:grpSpPr>
          <p:grpSp>
            <p:nvGrpSpPr>
              <p:cNvPr id="1480" name="Group 1479">
                <a:extLst>
                  <a:ext uri="{FF2B5EF4-FFF2-40B4-BE49-F238E27FC236}">
                    <a16:creationId xmlns:a16="http://schemas.microsoft.com/office/drawing/2014/main" id="{762CB0DD-D4BF-8385-1E57-17734E8442BA}"/>
                  </a:ext>
                </a:extLst>
              </p:cNvPr>
              <p:cNvGrpSpPr/>
              <p:nvPr/>
            </p:nvGrpSpPr>
            <p:grpSpPr>
              <a:xfrm>
                <a:off x="8281990" y="5011127"/>
                <a:ext cx="666876" cy="722341"/>
                <a:chOff x="8292345" y="5023826"/>
                <a:chExt cx="666876" cy="722341"/>
              </a:xfrm>
            </p:grpSpPr>
            <p:pic>
              <p:nvPicPr>
                <p:cNvPr id="1483" name="Graphic 1482" descr="Magnifying glass with solid fill">
                  <a:extLst>
                    <a:ext uri="{FF2B5EF4-FFF2-40B4-BE49-F238E27FC236}">
                      <a16:creationId xmlns:a16="http://schemas.microsoft.com/office/drawing/2014/main" id="{75D7FF61-4C1A-044A-9019-14B28CD96B8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0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501684" y="5023826"/>
                  <a:ext cx="457537" cy="457537"/>
                </a:xfrm>
                <a:prstGeom prst="rect">
                  <a:avLst/>
                </a:prstGeom>
              </p:spPr>
            </p:pic>
            <p:pic>
              <p:nvPicPr>
                <p:cNvPr id="1484" name="Graphic 1483" descr="User outline">
                  <a:extLst>
                    <a:ext uri="{FF2B5EF4-FFF2-40B4-BE49-F238E27FC236}">
                      <a16:creationId xmlns:a16="http://schemas.microsoft.com/office/drawing/2014/main" id="{62C1BF0A-5F5C-A103-2835-49E6E0FA08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2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92345" y="5288630"/>
                  <a:ext cx="457538" cy="457537"/>
                </a:xfrm>
                <a:prstGeom prst="rect">
                  <a:avLst/>
                </a:prstGeom>
              </p:spPr>
            </p:pic>
            <p:pic>
              <p:nvPicPr>
                <p:cNvPr id="1485" name="Graphic 1484" descr="Clipboard Checked outline">
                  <a:extLst>
                    <a:ext uri="{FF2B5EF4-FFF2-40B4-BE49-F238E27FC236}">
                      <a16:creationId xmlns:a16="http://schemas.microsoft.com/office/drawing/2014/main" id="{3AC1BF5F-F089-1414-00D7-EA12912BCA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574485" y="5096389"/>
                  <a:ext cx="212298" cy="212296"/>
                </a:xfrm>
                <a:prstGeom prst="rect">
                  <a:avLst/>
                </a:prstGeom>
              </p:spPr>
            </p:pic>
          </p:grpSp>
          <p:sp>
            <p:nvSpPr>
              <p:cNvPr id="1481" name="TextBox 1480">
                <a:extLst>
                  <a:ext uri="{FF2B5EF4-FFF2-40B4-BE49-F238E27FC236}">
                    <a16:creationId xmlns:a16="http://schemas.microsoft.com/office/drawing/2014/main" id="{A80F0BF1-9EAD-1783-C37E-F7E731E38E4E}"/>
                  </a:ext>
                </a:extLst>
              </p:cNvPr>
              <p:cNvSpPr txBox="1"/>
              <p:nvPr/>
            </p:nvSpPr>
            <p:spPr>
              <a:xfrm>
                <a:off x="8233560" y="5743546"/>
                <a:ext cx="137657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200">
                  <a:defRPr/>
                </a:pPr>
                <a:r>
                  <a:rPr lang="en-US" sz="1100" dirty="0">
                    <a:solidFill>
                      <a:srgbClr val="3F5073"/>
                    </a:solidFill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rPr>
                  <a:t>Tester + AI Lead</a:t>
                </a:r>
              </a:p>
            </p:txBody>
          </p:sp>
        </p:grpSp>
        <p:grpSp>
          <p:nvGrpSpPr>
            <p:cNvPr id="1453" name="Group 1452">
              <a:extLst>
                <a:ext uri="{FF2B5EF4-FFF2-40B4-BE49-F238E27FC236}">
                  <a16:creationId xmlns:a16="http://schemas.microsoft.com/office/drawing/2014/main" id="{1170790A-B066-EE69-A868-23473F8AA7E5}"/>
                </a:ext>
              </a:extLst>
            </p:cNvPr>
            <p:cNvGrpSpPr/>
            <p:nvPr/>
          </p:nvGrpSpPr>
          <p:grpSpPr>
            <a:xfrm>
              <a:off x="3266430" y="2605683"/>
              <a:ext cx="762817" cy="1035671"/>
              <a:chOff x="10343216" y="5138762"/>
              <a:chExt cx="762817" cy="1035671"/>
            </a:xfrm>
          </p:grpSpPr>
          <p:pic>
            <p:nvPicPr>
              <p:cNvPr id="1474" name="Graphic 1473" descr="Clipboard Checked outline">
                <a:extLst>
                  <a:ext uri="{FF2B5EF4-FFF2-40B4-BE49-F238E27FC236}">
                    <a16:creationId xmlns:a16="http://schemas.microsoft.com/office/drawing/2014/main" id="{B756D7C5-8C48-8D66-D652-A726BBB0E9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5"/>
                  </a:ext>
                </a:extLst>
              </a:blip>
              <a:stretch>
                <a:fillRect/>
              </a:stretch>
            </p:blipFill>
            <p:spPr>
              <a:xfrm>
                <a:off x="10462025" y="5138762"/>
                <a:ext cx="525200" cy="525198"/>
              </a:xfrm>
              <a:prstGeom prst="rect">
                <a:avLst/>
              </a:prstGeom>
            </p:spPr>
          </p:pic>
          <p:sp>
            <p:nvSpPr>
              <p:cNvPr id="1475" name="TextBox 1474">
                <a:extLst>
                  <a:ext uri="{FF2B5EF4-FFF2-40B4-BE49-F238E27FC236}">
                    <a16:creationId xmlns:a16="http://schemas.microsoft.com/office/drawing/2014/main" id="{3B171A20-2CE6-DCB7-6412-D8A495496FE0}"/>
                  </a:ext>
                </a:extLst>
              </p:cNvPr>
              <p:cNvSpPr txBox="1"/>
              <p:nvPr/>
            </p:nvSpPr>
            <p:spPr>
              <a:xfrm>
                <a:off x="10343216" y="5743546"/>
                <a:ext cx="762817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200">
                  <a:defRPr/>
                </a:pPr>
                <a:r>
                  <a:rPr lang="en-US" sz="1100" dirty="0">
                    <a:solidFill>
                      <a:srgbClr val="3F5073"/>
                    </a:solidFill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rPr>
                  <a:t>Test Cases</a:t>
                </a:r>
              </a:p>
            </p:txBody>
          </p:sp>
        </p:grpSp>
        <p:grpSp>
          <p:nvGrpSpPr>
            <p:cNvPr id="1454" name="Group 1453">
              <a:extLst>
                <a:ext uri="{FF2B5EF4-FFF2-40B4-BE49-F238E27FC236}">
                  <a16:creationId xmlns:a16="http://schemas.microsoft.com/office/drawing/2014/main" id="{90E4A563-3D63-DD0A-224B-6CE2B1C0BB86}"/>
                </a:ext>
              </a:extLst>
            </p:cNvPr>
            <p:cNvGrpSpPr/>
            <p:nvPr/>
          </p:nvGrpSpPr>
          <p:grpSpPr>
            <a:xfrm>
              <a:off x="392156" y="2465930"/>
              <a:ext cx="762817" cy="1175424"/>
              <a:chOff x="6944690" y="4999009"/>
              <a:chExt cx="762817" cy="1175424"/>
            </a:xfrm>
          </p:grpSpPr>
          <p:sp>
            <p:nvSpPr>
              <p:cNvPr id="1470" name="TextBox 1469">
                <a:extLst>
                  <a:ext uri="{FF2B5EF4-FFF2-40B4-BE49-F238E27FC236}">
                    <a16:creationId xmlns:a16="http://schemas.microsoft.com/office/drawing/2014/main" id="{778C5A11-B49F-A3A5-A28C-B2D7CF44C5CA}"/>
                  </a:ext>
                </a:extLst>
              </p:cNvPr>
              <p:cNvSpPr txBox="1"/>
              <p:nvPr/>
            </p:nvSpPr>
            <p:spPr>
              <a:xfrm>
                <a:off x="6944690" y="5743546"/>
                <a:ext cx="762817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F5073"/>
                    </a:solidFill>
                    <a:effectLst/>
                    <a:uLnTx/>
                    <a:uFillTx/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rPr>
                  <a:t>User Stories</a:t>
                </a:r>
              </a:p>
            </p:txBody>
          </p:sp>
          <p:grpSp>
            <p:nvGrpSpPr>
              <p:cNvPr id="1471" name="Group 1470">
                <a:extLst>
                  <a:ext uri="{FF2B5EF4-FFF2-40B4-BE49-F238E27FC236}">
                    <a16:creationId xmlns:a16="http://schemas.microsoft.com/office/drawing/2014/main" id="{BD058335-0A83-587F-26D8-9CDF51BE49D8}"/>
                  </a:ext>
                </a:extLst>
              </p:cNvPr>
              <p:cNvGrpSpPr/>
              <p:nvPr/>
            </p:nvGrpSpPr>
            <p:grpSpPr>
              <a:xfrm>
                <a:off x="7069879" y="4999009"/>
                <a:ext cx="546846" cy="728504"/>
                <a:chOff x="7095523" y="5075639"/>
                <a:chExt cx="416413" cy="554745"/>
              </a:xfrm>
            </p:grpSpPr>
            <p:pic>
              <p:nvPicPr>
                <p:cNvPr id="1472" name="Graphic 1471" descr="Clipboard Checked outline">
                  <a:extLst>
                    <a:ext uri="{FF2B5EF4-FFF2-40B4-BE49-F238E27FC236}">
                      <a16:creationId xmlns:a16="http://schemas.microsoft.com/office/drawing/2014/main" id="{20D3E477-413D-E5CE-8C70-5FDEB086721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095523" y="5213971"/>
                  <a:ext cx="416413" cy="416413"/>
                </a:xfrm>
                <a:prstGeom prst="rect">
                  <a:avLst/>
                </a:prstGeom>
              </p:spPr>
            </p:pic>
            <p:pic>
              <p:nvPicPr>
                <p:cNvPr id="1473" name="Graphic 1472" descr="User outline">
                  <a:extLst>
                    <a:ext uri="{FF2B5EF4-FFF2-40B4-BE49-F238E27FC236}">
                      <a16:creationId xmlns:a16="http://schemas.microsoft.com/office/drawing/2014/main" id="{A09F6CA8-ED46-93CC-862A-060994562B3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03726" y="5075639"/>
                  <a:ext cx="198948" cy="198948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1486" name="Group 1485">
            <a:extLst>
              <a:ext uri="{FF2B5EF4-FFF2-40B4-BE49-F238E27FC236}">
                <a16:creationId xmlns:a16="http://schemas.microsoft.com/office/drawing/2014/main" id="{A3B26CF6-0823-1D86-36BD-DDE0C9665D9A}"/>
              </a:ext>
            </a:extLst>
          </p:cNvPr>
          <p:cNvGrpSpPr/>
          <p:nvPr/>
        </p:nvGrpSpPr>
        <p:grpSpPr>
          <a:xfrm>
            <a:off x="8042611" y="2223062"/>
            <a:ext cx="3924205" cy="1163306"/>
            <a:chOff x="8042611" y="2478048"/>
            <a:chExt cx="3924205" cy="1163306"/>
          </a:xfrm>
        </p:grpSpPr>
        <p:grpSp>
          <p:nvGrpSpPr>
            <p:cNvPr id="1487" name="Group 1486">
              <a:extLst>
                <a:ext uri="{FF2B5EF4-FFF2-40B4-BE49-F238E27FC236}">
                  <a16:creationId xmlns:a16="http://schemas.microsoft.com/office/drawing/2014/main" id="{BB297666-995F-1C32-1B05-93CDB672C301}"/>
                </a:ext>
              </a:extLst>
            </p:cNvPr>
            <p:cNvGrpSpPr/>
            <p:nvPr/>
          </p:nvGrpSpPr>
          <p:grpSpPr>
            <a:xfrm>
              <a:off x="11004694" y="2478048"/>
              <a:ext cx="962122" cy="994029"/>
              <a:chOff x="10456246" y="4999618"/>
              <a:chExt cx="962122" cy="994029"/>
            </a:xfrm>
          </p:grpSpPr>
          <p:grpSp>
            <p:nvGrpSpPr>
              <p:cNvPr id="1504" name="Group 1503">
                <a:extLst>
                  <a:ext uri="{FF2B5EF4-FFF2-40B4-BE49-F238E27FC236}">
                    <a16:creationId xmlns:a16="http://schemas.microsoft.com/office/drawing/2014/main" id="{38E1C690-AF50-DF21-49C0-6725D22826B8}"/>
                  </a:ext>
                </a:extLst>
              </p:cNvPr>
              <p:cNvGrpSpPr/>
              <p:nvPr/>
            </p:nvGrpSpPr>
            <p:grpSpPr>
              <a:xfrm>
                <a:off x="10603868" y="4999618"/>
                <a:ext cx="666876" cy="722341"/>
                <a:chOff x="7778832" y="5023826"/>
                <a:chExt cx="666876" cy="722341"/>
              </a:xfrm>
            </p:grpSpPr>
            <p:pic>
              <p:nvPicPr>
                <p:cNvPr id="1506" name="Graphic 1505" descr="Magnifying glass with solid fill">
                  <a:extLst>
                    <a:ext uri="{FF2B5EF4-FFF2-40B4-BE49-F238E27FC236}">
                      <a16:creationId xmlns:a16="http://schemas.microsoft.com/office/drawing/2014/main" id="{38C7E554-90C6-4F4A-B481-97BD66B7F94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0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988171" y="5023826"/>
                  <a:ext cx="457537" cy="457537"/>
                </a:xfrm>
                <a:prstGeom prst="rect">
                  <a:avLst/>
                </a:prstGeom>
              </p:spPr>
            </p:pic>
            <p:pic>
              <p:nvPicPr>
                <p:cNvPr id="1507" name="Graphic 1506" descr="User outline">
                  <a:extLst>
                    <a:ext uri="{FF2B5EF4-FFF2-40B4-BE49-F238E27FC236}">
                      <a16:creationId xmlns:a16="http://schemas.microsoft.com/office/drawing/2014/main" id="{2E4A3986-0BA2-75C3-CB68-4B265369535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2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778832" y="5288630"/>
                  <a:ext cx="457538" cy="457537"/>
                </a:xfrm>
                <a:prstGeom prst="rect">
                  <a:avLst/>
                </a:prstGeom>
              </p:spPr>
            </p:pic>
            <p:pic>
              <p:nvPicPr>
                <p:cNvPr id="1508" name="Graphic 1507" descr="Clipboard Checked outline">
                  <a:extLst>
                    <a:ext uri="{FF2B5EF4-FFF2-40B4-BE49-F238E27FC236}">
                      <a16:creationId xmlns:a16="http://schemas.microsoft.com/office/drawing/2014/main" id="{398B50C4-80E2-DBE1-428D-77776F11579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060972" y="5096389"/>
                  <a:ext cx="212298" cy="212296"/>
                </a:xfrm>
                <a:prstGeom prst="rect">
                  <a:avLst/>
                </a:prstGeom>
              </p:spPr>
            </p:pic>
          </p:grpSp>
          <p:sp>
            <p:nvSpPr>
              <p:cNvPr id="1505" name="TextBox 1504">
                <a:extLst>
                  <a:ext uri="{FF2B5EF4-FFF2-40B4-BE49-F238E27FC236}">
                    <a16:creationId xmlns:a16="http://schemas.microsoft.com/office/drawing/2014/main" id="{4149ED45-8D92-A7EF-AB0D-352641F4B34F}"/>
                  </a:ext>
                </a:extLst>
              </p:cNvPr>
              <p:cNvSpPr txBox="1"/>
              <p:nvPr/>
            </p:nvSpPr>
            <p:spPr>
              <a:xfrm>
                <a:off x="10456246" y="5732037"/>
                <a:ext cx="962122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200">
                  <a:defRPr/>
                </a:pPr>
                <a:r>
                  <a:rPr lang="en-US" sz="1100" dirty="0">
                    <a:solidFill>
                      <a:srgbClr val="3F5073"/>
                    </a:solidFill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rPr>
                  <a:t>Automator</a:t>
                </a:r>
              </a:p>
            </p:txBody>
          </p:sp>
        </p:grpSp>
        <p:sp>
          <p:nvSpPr>
            <p:cNvPr id="1501" name="TextBox 1500">
              <a:extLst>
                <a:ext uri="{FF2B5EF4-FFF2-40B4-BE49-F238E27FC236}">
                  <a16:creationId xmlns:a16="http://schemas.microsoft.com/office/drawing/2014/main" id="{E8038A61-AE11-AC3B-CAD7-E9C809901C09}"/>
                </a:ext>
              </a:extLst>
            </p:cNvPr>
            <p:cNvSpPr txBox="1"/>
            <p:nvPr/>
          </p:nvSpPr>
          <p:spPr>
            <a:xfrm>
              <a:off x="8942254" y="3210467"/>
              <a:ext cx="80468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>
                <a:defRPr/>
              </a:pPr>
              <a:r>
                <a:rPr lang="en-US" sz="1100" dirty="0">
                  <a:solidFill>
                    <a:srgbClr val="3F5073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AI Lead</a:t>
              </a:r>
            </a:p>
          </p:txBody>
        </p:sp>
        <p:grpSp>
          <p:nvGrpSpPr>
            <p:cNvPr id="1489" name="Group 1488">
              <a:extLst>
                <a:ext uri="{FF2B5EF4-FFF2-40B4-BE49-F238E27FC236}">
                  <a16:creationId xmlns:a16="http://schemas.microsoft.com/office/drawing/2014/main" id="{38251C2C-4BE5-14D7-243A-98BF693BDDF1}"/>
                </a:ext>
              </a:extLst>
            </p:cNvPr>
            <p:cNvGrpSpPr/>
            <p:nvPr/>
          </p:nvGrpSpPr>
          <p:grpSpPr>
            <a:xfrm>
              <a:off x="8042611" y="2605683"/>
              <a:ext cx="762817" cy="1035671"/>
              <a:chOff x="10438859" y="5138762"/>
              <a:chExt cx="762817" cy="1035671"/>
            </a:xfrm>
          </p:grpSpPr>
          <p:pic>
            <p:nvPicPr>
              <p:cNvPr id="1498" name="Graphic 1497" descr="Clipboard Checked outline">
                <a:extLst>
                  <a:ext uri="{FF2B5EF4-FFF2-40B4-BE49-F238E27FC236}">
                    <a16:creationId xmlns:a16="http://schemas.microsoft.com/office/drawing/2014/main" id="{7635D3BB-DCFC-FD50-B0D3-5B3821EF3B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5"/>
                  </a:ext>
                </a:extLst>
              </a:blip>
              <a:stretch>
                <a:fillRect/>
              </a:stretch>
            </p:blipFill>
            <p:spPr>
              <a:xfrm>
                <a:off x="10557668" y="5138762"/>
                <a:ext cx="525200" cy="525198"/>
              </a:xfrm>
              <a:prstGeom prst="rect">
                <a:avLst/>
              </a:prstGeom>
            </p:spPr>
          </p:pic>
          <p:sp>
            <p:nvSpPr>
              <p:cNvPr id="1499" name="TextBox 1498">
                <a:extLst>
                  <a:ext uri="{FF2B5EF4-FFF2-40B4-BE49-F238E27FC236}">
                    <a16:creationId xmlns:a16="http://schemas.microsoft.com/office/drawing/2014/main" id="{B514C9A5-9C79-DE58-734C-940D9854C46D}"/>
                  </a:ext>
                </a:extLst>
              </p:cNvPr>
              <p:cNvSpPr txBox="1"/>
              <p:nvPr/>
            </p:nvSpPr>
            <p:spPr>
              <a:xfrm>
                <a:off x="10438859" y="5743546"/>
                <a:ext cx="762817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200">
                  <a:defRPr/>
                </a:pPr>
                <a:r>
                  <a:rPr lang="en-US" sz="1100" dirty="0">
                    <a:solidFill>
                      <a:srgbClr val="3F5073"/>
                    </a:solidFill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rPr>
                  <a:t>Test Cases +</a:t>
                </a:r>
              </a:p>
            </p:txBody>
          </p:sp>
        </p:grpSp>
        <p:grpSp>
          <p:nvGrpSpPr>
            <p:cNvPr id="1490" name="Group 1489">
              <a:extLst>
                <a:ext uri="{FF2B5EF4-FFF2-40B4-BE49-F238E27FC236}">
                  <a16:creationId xmlns:a16="http://schemas.microsoft.com/office/drawing/2014/main" id="{2DB5CA3D-0F64-42F6-526B-AE29927BAA97}"/>
                </a:ext>
              </a:extLst>
            </p:cNvPr>
            <p:cNvGrpSpPr/>
            <p:nvPr/>
          </p:nvGrpSpPr>
          <p:grpSpPr>
            <a:xfrm>
              <a:off x="9883760" y="2478628"/>
              <a:ext cx="984106" cy="1162726"/>
              <a:chOff x="9813362" y="2478628"/>
              <a:chExt cx="984106" cy="1162726"/>
            </a:xfrm>
          </p:grpSpPr>
          <p:sp>
            <p:nvSpPr>
              <p:cNvPr id="1494" name="TextBox 1493">
                <a:extLst>
                  <a:ext uri="{FF2B5EF4-FFF2-40B4-BE49-F238E27FC236}">
                    <a16:creationId xmlns:a16="http://schemas.microsoft.com/office/drawing/2014/main" id="{8CABB735-B4BB-1A64-AFEA-19FBE0A469A0}"/>
                  </a:ext>
                </a:extLst>
              </p:cNvPr>
              <p:cNvSpPr txBox="1"/>
              <p:nvPr/>
            </p:nvSpPr>
            <p:spPr>
              <a:xfrm>
                <a:off x="9813362" y="3210467"/>
                <a:ext cx="984106" cy="430887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 defTabSz="457200">
                  <a:defRPr/>
                </a:pPr>
                <a:r>
                  <a:rPr lang="en-US" sz="1100" dirty="0">
                    <a:solidFill>
                      <a:srgbClr val="3F5073"/>
                    </a:solidFill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rPr>
                  <a:t>Automation Scripts</a:t>
                </a:r>
              </a:p>
            </p:txBody>
          </p:sp>
          <p:grpSp>
            <p:nvGrpSpPr>
              <p:cNvPr id="1495" name="Group 1494">
                <a:extLst>
                  <a:ext uri="{FF2B5EF4-FFF2-40B4-BE49-F238E27FC236}">
                    <a16:creationId xmlns:a16="http://schemas.microsoft.com/office/drawing/2014/main" id="{FA42880F-D212-6758-A270-5569B0E1BBF7}"/>
                  </a:ext>
                </a:extLst>
              </p:cNvPr>
              <p:cNvGrpSpPr/>
              <p:nvPr/>
            </p:nvGrpSpPr>
            <p:grpSpPr>
              <a:xfrm>
                <a:off x="10031991" y="2478628"/>
                <a:ext cx="546846" cy="715806"/>
                <a:chOff x="10031991" y="2478628"/>
                <a:chExt cx="546846" cy="715806"/>
              </a:xfrm>
            </p:grpSpPr>
            <p:pic>
              <p:nvPicPr>
                <p:cNvPr id="1496" name="Graphic 1495" descr="Clipboard Checked outline">
                  <a:extLst>
                    <a:ext uri="{FF2B5EF4-FFF2-40B4-BE49-F238E27FC236}">
                      <a16:creationId xmlns:a16="http://schemas.microsoft.com/office/drawing/2014/main" id="{B61EC566-F8C8-A430-588D-0577E89C63E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031991" y="2647591"/>
                  <a:ext cx="546846" cy="546843"/>
                </a:xfrm>
                <a:prstGeom prst="rect">
                  <a:avLst/>
                </a:prstGeom>
              </p:spPr>
            </p:pic>
            <p:pic>
              <p:nvPicPr>
                <p:cNvPr id="1497" name="Graphic 1496">
                  <a:extLst>
                    <a:ext uri="{FF2B5EF4-FFF2-40B4-BE49-F238E27FC236}">
                      <a16:creationId xmlns:a16="http://schemas.microsoft.com/office/drawing/2014/main" id="{C0BFF095-E48F-79D5-FEAB-0E475045C231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8">
                  <a:extLst>
                    <a:ext uri="{96DAC541-7B7A-43D3-8B79-37D633B846F1}">
                      <asvg:svgBlip xmlns:asvg="http://schemas.microsoft.com/office/drawing/2016/SVG/main" r:embed="rId2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205545" y="2478628"/>
                  <a:ext cx="196106" cy="196106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1511" name="Group 1510">
            <a:extLst>
              <a:ext uri="{FF2B5EF4-FFF2-40B4-BE49-F238E27FC236}">
                <a16:creationId xmlns:a16="http://schemas.microsoft.com/office/drawing/2014/main" id="{C04AC35F-B93B-0EFB-8BDE-845F8A5C97CF}"/>
              </a:ext>
            </a:extLst>
          </p:cNvPr>
          <p:cNvGrpSpPr/>
          <p:nvPr/>
        </p:nvGrpSpPr>
        <p:grpSpPr>
          <a:xfrm>
            <a:off x="4405417" y="897683"/>
            <a:ext cx="1168584" cy="430441"/>
            <a:chOff x="8664385" y="4178056"/>
            <a:chExt cx="1168584" cy="430441"/>
          </a:xfrm>
        </p:grpSpPr>
        <p:sp>
          <p:nvSpPr>
            <p:cNvPr id="1512" name="Rectangle: Rounded Corners 79">
              <a:extLst>
                <a:ext uri="{FF2B5EF4-FFF2-40B4-BE49-F238E27FC236}">
                  <a16:creationId xmlns:a16="http://schemas.microsoft.com/office/drawing/2014/main" id="{F086D695-FADF-AA93-509B-585A5417336D}"/>
                </a:ext>
              </a:extLst>
            </p:cNvPr>
            <p:cNvSpPr/>
            <p:nvPr/>
          </p:nvSpPr>
          <p:spPr bwMode="gray">
            <a:xfrm>
              <a:off x="8836273" y="4389041"/>
              <a:ext cx="996696" cy="219456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6">
                  <a:lumMod val="75000"/>
                </a:schemeClr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 defTabSz="457200"/>
              <a:r>
                <a:rPr lang="en-US" sz="900" b="1" dirty="0">
                  <a:solidFill>
                    <a:srgbClr val="BF23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ritical/High</a:t>
              </a:r>
            </a:p>
          </p:txBody>
        </p:sp>
        <p:sp>
          <p:nvSpPr>
            <p:cNvPr id="1513" name="Oval 1512">
              <a:extLst>
                <a:ext uri="{FF2B5EF4-FFF2-40B4-BE49-F238E27FC236}">
                  <a16:creationId xmlns:a16="http://schemas.microsoft.com/office/drawing/2014/main" id="{2C91E046-D302-D67D-7E24-D8E3D1A6123F}"/>
                </a:ext>
              </a:extLst>
            </p:cNvPr>
            <p:cNvSpPr/>
            <p:nvPr/>
          </p:nvSpPr>
          <p:spPr>
            <a:xfrm>
              <a:off x="8664385" y="4178056"/>
              <a:ext cx="321030" cy="32103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BF23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514" name="Graphic 1513">
              <a:extLst>
                <a:ext uri="{FF2B5EF4-FFF2-40B4-BE49-F238E27FC236}">
                  <a16:creationId xmlns:a16="http://schemas.microsoft.com/office/drawing/2014/main" id="{1259D2F6-91DF-9862-7A4E-009E8382C89A}"/>
                </a:ext>
              </a:extLst>
            </p:cNvPr>
            <p:cNvPicPr>
              <a:picLocks/>
            </p:cNvPicPr>
            <p:nvPr/>
          </p:nvPicPr>
          <p:blipFill>
            <a:blip r:embed="rId30">
              <a:extLs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8695763" y="4190700"/>
              <a:ext cx="258274" cy="258274"/>
            </a:xfrm>
            <a:prstGeom prst="rect">
              <a:avLst/>
            </a:prstGeom>
          </p:spPr>
        </p:pic>
      </p:grpSp>
      <p:cxnSp>
        <p:nvCxnSpPr>
          <p:cNvPr id="1516" name="Connector: Elbow 1515">
            <a:extLst>
              <a:ext uri="{FF2B5EF4-FFF2-40B4-BE49-F238E27FC236}">
                <a16:creationId xmlns:a16="http://schemas.microsoft.com/office/drawing/2014/main" id="{ED1D9886-E60A-5858-7C71-4DB59621B4D6}"/>
              </a:ext>
            </a:extLst>
          </p:cNvPr>
          <p:cNvCxnSpPr>
            <a:cxnSpLocks/>
          </p:cNvCxnSpPr>
          <p:nvPr/>
        </p:nvCxnSpPr>
        <p:spPr>
          <a:xfrm>
            <a:off x="4165943" y="3203229"/>
            <a:ext cx="1784007" cy="1543652"/>
          </a:xfrm>
          <a:prstGeom prst="bentConnector3">
            <a:avLst>
              <a:gd name="adj1" fmla="val 168"/>
            </a:avLst>
          </a:prstGeom>
          <a:ln>
            <a:solidFill>
              <a:srgbClr val="F86F3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8" name="Connector: Elbow 1517">
            <a:extLst>
              <a:ext uri="{FF2B5EF4-FFF2-40B4-BE49-F238E27FC236}">
                <a16:creationId xmlns:a16="http://schemas.microsoft.com/office/drawing/2014/main" id="{35481958-4DC6-C55B-CFFD-2FE86050F7FB}"/>
              </a:ext>
            </a:extLst>
          </p:cNvPr>
          <p:cNvCxnSpPr>
            <a:cxnSpLocks/>
          </p:cNvCxnSpPr>
          <p:nvPr/>
        </p:nvCxnSpPr>
        <p:spPr>
          <a:xfrm rot="10800000" flipV="1">
            <a:off x="5949950" y="3203229"/>
            <a:ext cx="2008352" cy="1543652"/>
          </a:xfrm>
          <a:prstGeom prst="bentConnector3">
            <a:avLst>
              <a:gd name="adj1" fmla="val 360"/>
            </a:avLst>
          </a:prstGeom>
          <a:ln>
            <a:solidFill>
              <a:srgbClr val="F86F35"/>
            </a:solidFill>
            <a:headEnd type="triangle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30" name="Group 1529">
            <a:extLst>
              <a:ext uri="{FF2B5EF4-FFF2-40B4-BE49-F238E27FC236}">
                <a16:creationId xmlns:a16="http://schemas.microsoft.com/office/drawing/2014/main" id="{DFE31890-E1AE-3A69-787B-2E395F635B61}"/>
              </a:ext>
            </a:extLst>
          </p:cNvPr>
          <p:cNvGrpSpPr/>
          <p:nvPr/>
        </p:nvGrpSpPr>
        <p:grpSpPr>
          <a:xfrm>
            <a:off x="4758657" y="4614829"/>
            <a:ext cx="2674686" cy="434870"/>
            <a:chOff x="4896306" y="4367050"/>
            <a:chExt cx="2674686" cy="434870"/>
          </a:xfrm>
        </p:grpSpPr>
        <p:grpSp>
          <p:nvGrpSpPr>
            <p:cNvPr id="1521" name="Group 1520">
              <a:extLst>
                <a:ext uri="{FF2B5EF4-FFF2-40B4-BE49-F238E27FC236}">
                  <a16:creationId xmlns:a16="http://schemas.microsoft.com/office/drawing/2014/main" id="{DD43CED2-3CB9-7EDC-A704-90FEB34AF2B1}"/>
                </a:ext>
              </a:extLst>
            </p:cNvPr>
            <p:cNvGrpSpPr/>
            <p:nvPr/>
          </p:nvGrpSpPr>
          <p:grpSpPr>
            <a:xfrm>
              <a:off x="6428366" y="4367050"/>
              <a:ext cx="1142626" cy="426985"/>
              <a:chOff x="9459752" y="3637865"/>
              <a:chExt cx="1142626" cy="426985"/>
            </a:xfrm>
          </p:grpSpPr>
          <p:sp>
            <p:nvSpPr>
              <p:cNvPr id="1522" name="Rectangle: Rounded Corners 79">
                <a:extLst>
                  <a:ext uri="{FF2B5EF4-FFF2-40B4-BE49-F238E27FC236}">
                    <a16:creationId xmlns:a16="http://schemas.microsoft.com/office/drawing/2014/main" id="{35A19707-D12C-C0ED-ADA9-34F0C4016F28}"/>
                  </a:ext>
                </a:extLst>
              </p:cNvPr>
              <p:cNvSpPr/>
              <p:nvPr/>
            </p:nvSpPr>
            <p:spPr bwMode="gray">
              <a:xfrm>
                <a:off x="9630378" y="3848850"/>
                <a:ext cx="972000" cy="216000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rgbClr val="FFC000"/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algn="ctr" defTabSz="457200"/>
                <a:r>
                  <a:rPr lang="en-US" sz="900" b="1" dirty="0">
                    <a:solidFill>
                      <a:srgbClr val="FFC0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Medium</a:t>
                </a:r>
              </a:p>
            </p:txBody>
          </p:sp>
          <p:sp>
            <p:nvSpPr>
              <p:cNvPr id="1523" name="Oval 1522">
                <a:extLst>
                  <a:ext uri="{FF2B5EF4-FFF2-40B4-BE49-F238E27FC236}">
                    <a16:creationId xmlns:a16="http://schemas.microsoft.com/office/drawing/2014/main" id="{34B83B7A-69D2-8E2D-C4B6-ABA7377C0FE2}"/>
                  </a:ext>
                </a:extLst>
              </p:cNvPr>
              <p:cNvSpPr/>
              <p:nvPr/>
            </p:nvSpPr>
            <p:spPr>
              <a:xfrm>
                <a:off x="9459752" y="3637865"/>
                <a:ext cx="321030" cy="32103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1524" name="Graphic 1523">
                <a:extLst>
                  <a:ext uri="{FF2B5EF4-FFF2-40B4-BE49-F238E27FC236}">
                    <a16:creationId xmlns:a16="http://schemas.microsoft.com/office/drawing/2014/main" id="{DBD8886E-FFE9-F659-9D81-4854A0F6D755}"/>
                  </a:ext>
                </a:extLst>
              </p:cNvPr>
              <p:cNvPicPr>
                <a:picLocks/>
              </p:cNvPicPr>
              <p:nvPr/>
            </p:nvPicPr>
            <p:blipFill>
              <a:blip r:embed="rId32">
                <a:extLst>
                  <a:ext uri="{96DAC541-7B7A-43D3-8B79-37D633B846F1}">
                    <asvg:svgBlip xmlns:asvg="http://schemas.microsoft.com/office/drawing/2016/SVG/main" r:embed="rId33"/>
                  </a:ext>
                </a:extLst>
              </a:blip>
              <a:stretch>
                <a:fillRect/>
              </a:stretch>
            </p:blipFill>
            <p:spPr>
              <a:xfrm>
                <a:off x="9491130" y="3650509"/>
                <a:ext cx="258274" cy="258274"/>
              </a:xfrm>
              <a:prstGeom prst="rect">
                <a:avLst/>
              </a:prstGeom>
            </p:spPr>
          </p:pic>
        </p:grpSp>
        <p:grpSp>
          <p:nvGrpSpPr>
            <p:cNvPr id="1525" name="Group 1524">
              <a:extLst>
                <a:ext uri="{FF2B5EF4-FFF2-40B4-BE49-F238E27FC236}">
                  <a16:creationId xmlns:a16="http://schemas.microsoft.com/office/drawing/2014/main" id="{4682C595-6228-6717-4D15-5D87E90E8433}"/>
                </a:ext>
              </a:extLst>
            </p:cNvPr>
            <p:cNvGrpSpPr/>
            <p:nvPr/>
          </p:nvGrpSpPr>
          <p:grpSpPr>
            <a:xfrm>
              <a:off x="4896306" y="4374935"/>
              <a:ext cx="1142626" cy="426985"/>
              <a:chOff x="7517200" y="4855421"/>
              <a:chExt cx="1142626" cy="426985"/>
            </a:xfrm>
          </p:grpSpPr>
          <p:sp>
            <p:nvSpPr>
              <p:cNvPr id="1526" name="Rectangle: Rounded Corners 79">
                <a:extLst>
                  <a:ext uri="{FF2B5EF4-FFF2-40B4-BE49-F238E27FC236}">
                    <a16:creationId xmlns:a16="http://schemas.microsoft.com/office/drawing/2014/main" id="{5E097204-9F94-5CC7-B9A9-A08118BF5F4D}"/>
                  </a:ext>
                </a:extLst>
              </p:cNvPr>
              <p:cNvSpPr/>
              <p:nvPr/>
            </p:nvSpPr>
            <p:spPr bwMode="gray">
              <a:xfrm>
                <a:off x="7687826" y="5066406"/>
                <a:ext cx="972000" cy="216000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accent5"/>
                </a:solidFill>
              </a:ln>
            </p:spPr>
            <p:txBody>
              <a:bodyPr wrap="square" rtlCol="0" anchor="ctr">
                <a:noAutofit/>
              </a:bodyPr>
              <a:lstStyle/>
              <a:p>
                <a:pPr algn="ctr" defTabSz="457200"/>
                <a:r>
                  <a:rPr lang="en-US" sz="900" b="1" dirty="0">
                    <a:solidFill>
                      <a:srgbClr val="3B43FB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Low</a:t>
                </a:r>
              </a:p>
            </p:txBody>
          </p:sp>
          <p:sp>
            <p:nvSpPr>
              <p:cNvPr id="1527" name="Oval 1526">
                <a:extLst>
                  <a:ext uri="{FF2B5EF4-FFF2-40B4-BE49-F238E27FC236}">
                    <a16:creationId xmlns:a16="http://schemas.microsoft.com/office/drawing/2014/main" id="{AFB24593-A392-58C6-8348-88CB8E277484}"/>
                  </a:ext>
                </a:extLst>
              </p:cNvPr>
              <p:cNvSpPr/>
              <p:nvPr/>
            </p:nvSpPr>
            <p:spPr>
              <a:xfrm>
                <a:off x="7517200" y="4855421"/>
                <a:ext cx="321030" cy="32103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3B43FB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1528" name="Graphic 1527">
                <a:extLst>
                  <a:ext uri="{FF2B5EF4-FFF2-40B4-BE49-F238E27FC236}">
                    <a16:creationId xmlns:a16="http://schemas.microsoft.com/office/drawing/2014/main" id="{8C5481AA-F8F0-5127-DC8E-9A5554A362A6}"/>
                  </a:ext>
                </a:extLst>
              </p:cNvPr>
              <p:cNvPicPr>
                <a:picLocks/>
              </p:cNvPicPr>
              <p:nvPr/>
            </p:nvPicPr>
            <p:blipFill>
              <a:blip r:embed="rId34">
                <a:extLst>
                  <a:ext uri="{96DAC541-7B7A-43D3-8B79-37D633B846F1}">
                    <asvg:svgBlip xmlns:asvg="http://schemas.microsoft.com/office/drawing/2016/SVG/main" r:embed="rId35"/>
                  </a:ext>
                </a:extLst>
              </a:blip>
              <a:stretch>
                <a:fillRect/>
              </a:stretch>
            </p:blipFill>
            <p:spPr>
              <a:xfrm>
                <a:off x="7548578" y="4868065"/>
                <a:ext cx="258274" cy="258274"/>
              </a:xfrm>
              <a:prstGeom prst="rect">
                <a:avLst/>
              </a:prstGeom>
            </p:spPr>
          </p:pic>
        </p:grpSp>
      </p:grpSp>
      <p:pic>
        <p:nvPicPr>
          <p:cNvPr id="26" name="Imagen 25" descr="Forma&#10;&#10;El contenido generado por IA puede ser incorrecto.">
            <a:extLst>
              <a:ext uri="{FF2B5EF4-FFF2-40B4-BE49-F238E27FC236}">
                <a16:creationId xmlns:a16="http://schemas.microsoft.com/office/drawing/2014/main" id="{90F2494B-3BBB-5B24-83CD-262D9EA1322A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9220" y="5726039"/>
            <a:ext cx="206364" cy="364512"/>
          </a:xfrm>
          <a:prstGeom prst="rect">
            <a:avLst/>
          </a:prstGeom>
        </p:spPr>
      </p:pic>
      <p:pic>
        <p:nvPicPr>
          <p:cNvPr id="30" name="Imagen 29" descr="Forma&#10;&#10;El contenido generado por IA puede ser incorrecto.">
            <a:extLst>
              <a:ext uri="{FF2B5EF4-FFF2-40B4-BE49-F238E27FC236}">
                <a16:creationId xmlns:a16="http://schemas.microsoft.com/office/drawing/2014/main" id="{E6EDC3B5-6010-03A6-20C7-5D028F2F9102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9089" y="1930121"/>
            <a:ext cx="112403" cy="198544"/>
          </a:xfrm>
          <a:prstGeom prst="rect">
            <a:avLst/>
          </a:prstGeom>
        </p:spPr>
      </p:pic>
      <p:pic>
        <p:nvPicPr>
          <p:cNvPr id="31" name="Imagen 30" descr="Forma&#10;&#10;El contenido generado por IA puede ser incorrecto.">
            <a:extLst>
              <a:ext uri="{FF2B5EF4-FFF2-40B4-BE49-F238E27FC236}">
                <a16:creationId xmlns:a16="http://schemas.microsoft.com/office/drawing/2014/main" id="{D993ABD9-20D1-BBD9-0EDD-850FC553AA56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5160" y="1925108"/>
            <a:ext cx="112403" cy="198544"/>
          </a:xfrm>
          <a:prstGeom prst="rect">
            <a:avLst/>
          </a:prstGeom>
        </p:spPr>
      </p:pic>
      <p:pic>
        <p:nvPicPr>
          <p:cNvPr id="33" name="Imagen 32" descr="Dibujo en fondo negro&#10;&#10;El contenido generado por IA puede ser incorrecto.">
            <a:extLst>
              <a:ext uri="{FF2B5EF4-FFF2-40B4-BE49-F238E27FC236}">
                <a16:creationId xmlns:a16="http://schemas.microsoft.com/office/drawing/2014/main" id="{B85E87D0-A88A-D440-6E8D-5937932E1844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429" y="2516225"/>
            <a:ext cx="165358" cy="292081"/>
          </a:xfrm>
          <a:prstGeom prst="rect">
            <a:avLst/>
          </a:prstGeom>
        </p:spPr>
      </p:pic>
      <p:pic>
        <p:nvPicPr>
          <p:cNvPr id="34" name="Imagen 33" descr="Dibujo en fondo negro&#10;&#10;El contenido generado por IA puede ser incorrecto.">
            <a:extLst>
              <a:ext uri="{FF2B5EF4-FFF2-40B4-BE49-F238E27FC236}">
                <a16:creationId xmlns:a16="http://schemas.microsoft.com/office/drawing/2014/main" id="{8B360F0A-E5A5-316D-4461-9389B6376C77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0239" y="2516225"/>
            <a:ext cx="165358" cy="292081"/>
          </a:xfrm>
          <a:prstGeom prst="rect">
            <a:avLst/>
          </a:prstGeom>
        </p:spPr>
      </p:pic>
      <p:pic>
        <p:nvPicPr>
          <p:cNvPr id="35" name="Imagen 34" descr="Dibujo en fondo negro&#10;&#10;El contenido generado por IA puede ser incorrecto.">
            <a:extLst>
              <a:ext uri="{FF2B5EF4-FFF2-40B4-BE49-F238E27FC236}">
                <a16:creationId xmlns:a16="http://schemas.microsoft.com/office/drawing/2014/main" id="{2A6DF44E-8D08-77E5-0811-A3C2CA251848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8342" y="2514978"/>
            <a:ext cx="165358" cy="292081"/>
          </a:xfrm>
          <a:prstGeom prst="rect">
            <a:avLst/>
          </a:prstGeom>
        </p:spPr>
      </p:pic>
      <p:pic>
        <p:nvPicPr>
          <p:cNvPr id="36" name="Imagen 35" descr="Dibujo en fondo negro&#10;&#10;El contenido generado por IA puede ser incorrecto.">
            <a:extLst>
              <a:ext uri="{FF2B5EF4-FFF2-40B4-BE49-F238E27FC236}">
                <a16:creationId xmlns:a16="http://schemas.microsoft.com/office/drawing/2014/main" id="{57694C64-7296-1EDD-F809-56F1E4518366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0794" y="2521162"/>
            <a:ext cx="165358" cy="292081"/>
          </a:xfrm>
          <a:prstGeom prst="rect">
            <a:avLst/>
          </a:prstGeom>
        </p:spPr>
      </p:pic>
      <p:pic>
        <p:nvPicPr>
          <p:cNvPr id="37" name="Imagen 36" descr="Dibujo en fondo negro&#10;&#10;El contenido generado por IA puede ser incorrecto.">
            <a:extLst>
              <a:ext uri="{FF2B5EF4-FFF2-40B4-BE49-F238E27FC236}">
                <a16:creationId xmlns:a16="http://schemas.microsoft.com/office/drawing/2014/main" id="{6EA65A8B-8387-1E88-D27C-72CFECC01C5C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2083" y="2514978"/>
            <a:ext cx="165358" cy="292081"/>
          </a:xfrm>
          <a:prstGeom prst="rect">
            <a:avLst/>
          </a:prstGeom>
        </p:spPr>
      </p:pic>
      <p:pic>
        <p:nvPicPr>
          <p:cNvPr id="39" name="Imagen 38" descr="Dibujo en fondo negro&#10;&#10;El contenido generado por IA puede ser incorrecto.">
            <a:extLst>
              <a:ext uri="{FF2B5EF4-FFF2-40B4-BE49-F238E27FC236}">
                <a16:creationId xmlns:a16="http://schemas.microsoft.com/office/drawing/2014/main" id="{DB3E5609-70D2-45D1-46CE-5B3981F932C4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0145" y="2509343"/>
            <a:ext cx="165358" cy="292081"/>
          </a:xfrm>
          <a:prstGeom prst="rect">
            <a:avLst/>
          </a:prstGeom>
        </p:spPr>
      </p:pic>
      <p:pic>
        <p:nvPicPr>
          <p:cNvPr id="40" name="Imagen 39" descr="Dibujo en fondo negro&#10;&#10;El contenido generado por IA puede ser incorrecto.">
            <a:extLst>
              <a:ext uri="{FF2B5EF4-FFF2-40B4-BE49-F238E27FC236}">
                <a16:creationId xmlns:a16="http://schemas.microsoft.com/office/drawing/2014/main" id="{9F6E1778-8B43-55F3-E996-3D1469BE8C1F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2753" y="2516225"/>
            <a:ext cx="165358" cy="292081"/>
          </a:xfrm>
          <a:prstGeom prst="rect">
            <a:avLst/>
          </a:prstGeom>
        </p:spPr>
      </p:pic>
      <p:pic>
        <p:nvPicPr>
          <p:cNvPr id="41" name="Imagen 40" descr="Imagen que contiene Icono&#10;&#10;El contenido generado por IA puede ser incorrecto.">
            <a:extLst>
              <a:ext uri="{FF2B5EF4-FFF2-40B4-BE49-F238E27FC236}">
                <a16:creationId xmlns:a16="http://schemas.microsoft.com/office/drawing/2014/main" id="{A27CA076-1625-F987-6A6F-AA2472069D0A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0450" y="2350697"/>
            <a:ext cx="548213" cy="548213"/>
          </a:xfrm>
          <a:prstGeom prst="rect">
            <a:avLst/>
          </a:prstGeom>
        </p:spPr>
      </p:pic>
      <p:pic>
        <p:nvPicPr>
          <p:cNvPr id="42" name="Imagen 41" descr="Imagen que contiene Icono&#10;&#10;El contenido generado por IA puede ser incorrecto.">
            <a:extLst>
              <a:ext uri="{FF2B5EF4-FFF2-40B4-BE49-F238E27FC236}">
                <a16:creationId xmlns:a16="http://schemas.microsoft.com/office/drawing/2014/main" id="{59493170-65A4-60D0-DC7C-5E690D664987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8921" y="2341575"/>
            <a:ext cx="548213" cy="548213"/>
          </a:xfrm>
          <a:prstGeom prst="rect">
            <a:avLst/>
          </a:prstGeom>
        </p:spPr>
      </p:pic>
      <p:pic>
        <p:nvPicPr>
          <p:cNvPr id="43" name="Imagen 42" descr="Imagen que contiene Icono&#10;&#10;El contenido generado por IA puede ser incorrecto.">
            <a:extLst>
              <a:ext uri="{FF2B5EF4-FFF2-40B4-BE49-F238E27FC236}">
                <a16:creationId xmlns:a16="http://schemas.microsoft.com/office/drawing/2014/main" id="{BD539071-74A3-CD7D-4EEC-EFF47DE8C113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1381" y="5534959"/>
            <a:ext cx="746671" cy="746671"/>
          </a:xfrm>
          <a:prstGeom prst="rect">
            <a:avLst/>
          </a:prstGeom>
        </p:spPr>
      </p:pic>
      <p:sp>
        <p:nvSpPr>
          <p:cNvPr id="1519" name="CuadroTexto 4">
            <a:extLst>
              <a:ext uri="{FF2B5EF4-FFF2-40B4-BE49-F238E27FC236}">
                <a16:creationId xmlns:a16="http://schemas.microsoft.com/office/drawing/2014/main" id="{1954E793-0BDD-95B3-09A1-51F59619E705}"/>
              </a:ext>
            </a:extLst>
          </p:cNvPr>
          <p:cNvSpPr txBox="1"/>
          <p:nvPr/>
        </p:nvSpPr>
        <p:spPr>
          <a:xfrm>
            <a:off x="7978353" y="3951365"/>
            <a:ext cx="23956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effectLst/>
                <a:latin typeface="-apple-system"/>
              </a:rPr>
              <a:t>Large/Complex scenarios: </a:t>
            </a:r>
          </a:p>
          <a:p>
            <a:pPr>
              <a:buFont typeface="+mj-lt"/>
              <a:buAutoNum type="arabicPeriod"/>
            </a:pPr>
            <a:r>
              <a:rPr lang="en-US" sz="1200" b="1" dirty="0">
                <a:effectLst/>
                <a:latin typeface="-apple-system"/>
              </a:rPr>
              <a:t>Single epic</a:t>
            </a:r>
          </a:p>
          <a:p>
            <a:pPr>
              <a:buFont typeface="+mj-lt"/>
              <a:buAutoNum type="arabicPeriod"/>
            </a:pPr>
            <a:r>
              <a:rPr lang="en-US" sz="1200" b="1" dirty="0">
                <a:effectLst/>
                <a:latin typeface="-apple-system"/>
              </a:rPr>
              <a:t>Parallelism within same sprint</a:t>
            </a:r>
          </a:p>
          <a:p>
            <a:pPr>
              <a:buFont typeface="+mj-lt"/>
              <a:buAutoNum type="arabicPeriod"/>
            </a:pPr>
            <a:r>
              <a:rPr lang="en-US" sz="1200" b="1" dirty="0">
                <a:effectLst/>
                <a:latin typeface="-apple-system"/>
              </a:rPr>
              <a:t>Multiple sprints </a:t>
            </a:r>
            <a:endParaRPr lang="en-US" sz="12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E601A863-7105-AF7C-0A68-05FC97AE2492}"/>
              </a:ext>
            </a:extLst>
          </p:cNvPr>
          <p:cNvCxnSpPr>
            <a:cxnSpLocks/>
            <a:stCxn id="41" idx="0"/>
          </p:cNvCxnSpPr>
          <p:nvPr/>
        </p:nvCxnSpPr>
        <p:spPr>
          <a:xfrm rot="5400000" flipH="1" flipV="1">
            <a:off x="4732630" y="-1340692"/>
            <a:ext cx="1593317" cy="5789462"/>
          </a:xfrm>
          <a:prstGeom prst="bentConnector2">
            <a:avLst/>
          </a:prstGeom>
          <a:ln>
            <a:solidFill>
              <a:srgbClr val="F86F35"/>
            </a:solidFill>
            <a:headEnd type="triangle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963A8F1D-2377-BCAA-BA77-3AC6BDD8B45A}"/>
              </a:ext>
            </a:extLst>
          </p:cNvPr>
          <p:cNvCxnSpPr>
            <a:cxnSpLocks/>
            <a:endCxn id="1498" idx="0"/>
          </p:cNvCxnSpPr>
          <p:nvPr/>
        </p:nvCxnSpPr>
        <p:spPr>
          <a:xfrm rot="16200000" flipH="1">
            <a:off x="7621941" y="1548617"/>
            <a:ext cx="1602025" cy="2134"/>
          </a:xfrm>
          <a:prstGeom prst="bentConnector3">
            <a:avLst>
              <a:gd name="adj1" fmla="val 50000"/>
            </a:avLst>
          </a:prstGeom>
          <a:ln>
            <a:solidFill>
              <a:srgbClr val="F86F3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4" name="Graphic 43" descr="User outline">
            <a:extLst>
              <a:ext uri="{FF2B5EF4-FFF2-40B4-BE49-F238E27FC236}">
                <a16:creationId xmlns:a16="http://schemas.microsoft.com/office/drawing/2014/main" id="{623EE701-FB34-E9B2-6F29-D28A4938B0A4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2126579" y="903503"/>
            <a:ext cx="457538" cy="457537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E63F7C30-FFEF-065C-9CA0-44F2A583E39A}"/>
              </a:ext>
            </a:extLst>
          </p:cNvPr>
          <p:cNvSpPr txBox="1"/>
          <p:nvPr/>
        </p:nvSpPr>
        <p:spPr>
          <a:xfrm>
            <a:off x="2674310" y="928129"/>
            <a:ext cx="115239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en-US" sz="1100" dirty="0">
                <a:solidFill>
                  <a:srgbClr val="3F5073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Reinforcement Learning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1E1EB79-1373-3802-B56F-69B173BA7B52}"/>
              </a:ext>
            </a:extLst>
          </p:cNvPr>
          <p:cNvSpPr txBox="1"/>
          <p:nvPr/>
        </p:nvSpPr>
        <p:spPr>
          <a:xfrm>
            <a:off x="1951465" y="1332649"/>
            <a:ext cx="80291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en-US" sz="1100" dirty="0">
                <a:solidFill>
                  <a:srgbClr val="3F5073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I Lead</a:t>
            </a:r>
          </a:p>
        </p:txBody>
      </p:sp>
    </p:spTree>
    <p:extLst>
      <p:ext uri="{BB962C8B-B14F-4D97-AF65-F5344CB8AC3E}">
        <p14:creationId xmlns:p14="http://schemas.microsoft.com/office/powerpoint/2010/main" val="15585698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1A48379-A972-3136-A047-2518AA1E6854}"/>
              </a:ext>
            </a:extLst>
          </p:cNvPr>
          <p:cNvSpPr txBox="1">
            <a:spLocks/>
          </p:cNvSpPr>
          <p:nvPr/>
        </p:nvSpPr>
        <p:spPr>
          <a:xfrm>
            <a:off x="772634" y="602039"/>
            <a:ext cx="10646733" cy="396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kern="1200">
                <a:gradFill flip="none" rotWithShape="1">
                  <a:gsLst>
                    <a:gs pos="0">
                      <a:srgbClr val="FF3306"/>
                    </a:gs>
                    <a:gs pos="100000">
                      <a:srgbClr val="FF7B5D"/>
                    </a:gs>
                  </a:gsLst>
                  <a:lin ang="8400000" scaled="0"/>
                  <a:tileRect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>
                <a:gradFill flip="none">
                  <a:gsLst>
                    <a:gs pos="0">
                      <a:srgbClr val="FF3306"/>
                    </a:gs>
                    <a:gs pos="100000">
                      <a:srgbClr val="FF7B5D"/>
                    </a:gs>
                  </a:gsLst>
                  <a:lin ang="8400000" scaled="0"/>
                  <a:tileRect/>
                </a:gradFill>
                <a:latin typeface="Open Sans ExtraBold"/>
                <a:ea typeface="Open Sans ExtraBold"/>
                <a:cs typeface="Open Sans ExtraBold"/>
              </a:rPr>
              <a:t>OBJETIVE</a:t>
            </a:r>
          </a:p>
        </p:txBody>
      </p:sp>
      <p:sp>
        <p:nvSpPr>
          <p:cNvPr id="4" name="CuadroTexto 5">
            <a:extLst>
              <a:ext uri="{FF2B5EF4-FFF2-40B4-BE49-F238E27FC236}">
                <a16:creationId xmlns:a16="http://schemas.microsoft.com/office/drawing/2014/main" id="{FECC4256-4448-F776-9259-5A1B1747E7B1}"/>
              </a:ext>
            </a:extLst>
          </p:cNvPr>
          <p:cNvSpPr txBox="1"/>
          <p:nvPr/>
        </p:nvSpPr>
        <p:spPr>
          <a:xfrm>
            <a:off x="772634" y="1301612"/>
            <a:ext cx="10646733" cy="38164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dirty="0">
                <a:solidFill>
                  <a:srgbClr val="3F5073"/>
                </a:solidFill>
                <a:latin typeface="Open Sans"/>
                <a:ea typeface="Open Sans"/>
                <a:cs typeface="Open Sans"/>
              </a:rPr>
              <a:t>Run a Live Demo to highlight how leveraging Artificial Intelligence can </a:t>
            </a:r>
            <a:r>
              <a:rPr lang="en-US" sz="1400" b="1" dirty="0">
                <a:solidFill>
                  <a:srgbClr val="F86F35"/>
                </a:solidFill>
                <a:latin typeface="Open Sans"/>
                <a:ea typeface="Open Sans"/>
                <a:cs typeface="Open Sans"/>
              </a:rPr>
              <a:t>drive significant improvement in quality </a:t>
            </a:r>
            <a:r>
              <a:rPr lang="en-US" sz="1400" dirty="0">
                <a:solidFill>
                  <a:srgbClr val="3F5073"/>
                </a:solidFill>
                <a:latin typeface="Open Sans"/>
                <a:ea typeface="Open Sans"/>
                <a:cs typeface="Open Sans"/>
              </a:rPr>
              <a:t>in order to execute an end-to-end testing cycle. </a:t>
            </a:r>
          </a:p>
          <a:p>
            <a:pPr lvl="1"/>
            <a:endParaRPr lang="en-US" dirty="0">
              <a:solidFill>
                <a:srgbClr val="3F5073"/>
              </a:solidFill>
            </a:endParaRPr>
          </a:p>
          <a:p>
            <a:r>
              <a:rPr lang="en-US" sz="1400" dirty="0">
                <a:solidFill>
                  <a:srgbClr val="F86F35"/>
                </a:solidFill>
                <a:latin typeface="Open Sans SemiBold"/>
                <a:ea typeface="Open Sans"/>
                <a:cs typeface="Open Sans"/>
              </a:rPr>
              <a:t>The sample app is a case management tool (Case Master) with the following feature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F5073"/>
                </a:solidFill>
                <a:latin typeface="Open Sans"/>
                <a:ea typeface="Open Sans"/>
                <a:cs typeface="Open Sans"/>
              </a:rPr>
              <a:t>Analyst &amp; customer porta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F5073"/>
                </a:solidFill>
                <a:latin typeface="Open Sans"/>
                <a:ea typeface="Open Sans"/>
                <a:cs typeface="Open Sans"/>
              </a:rPr>
              <a:t>Create new cas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F5073"/>
                </a:solidFill>
                <a:latin typeface="Open Sans"/>
                <a:ea typeface="Open Sans"/>
                <a:cs typeface="Open Sans"/>
              </a:rPr>
              <a:t>Upload docume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F5073"/>
                </a:solidFill>
                <a:latin typeface="Open Sans"/>
                <a:ea typeface="Open Sans"/>
                <a:cs typeface="Open Sans"/>
              </a:rPr>
              <a:t>Case track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F5073"/>
                </a:solidFill>
                <a:latin typeface="Open Sans"/>
                <a:ea typeface="Open Sans"/>
                <a:cs typeface="Open Sans"/>
              </a:rPr>
              <a:t>Case filtering</a:t>
            </a:r>
            <a:r>
              <a:rPr lang="es-MX" sz="1400" dirty="0">
                <a:solidFill>
                  <a:srgbClr val="3F5073"/>
                </a:solidFill>
                <a:latin typeface="Open Sans"/>
                <a:ea typeface="Open Sans"/>
                <a:cs typeface="Open Sans"/>
              </a:rPr>
              <a:t>:</a:t>
            </a:r>
            <a:r>
              <a:rPr lang="en-US" sz="1400" dirty="0">
                <a:solidFill>
                  <a:srgbClr val="3F5073"/>
                </a:solidFill>
                <a:latin typeface="Open Sans"/>
                <a:ea typeface="Open Sans"/>
                <a:cs typeface="Open Sans"/>
              </a:rPr>
              <a:t> Customer, Merchant, Commercia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F5073"/>
                </a:solidFill>
                <a:latin typeface="Open Sans"/>
                <a:ea typeface="Open Sans"/>
                <a:cs typeface="Open Sans"/>
              </a:rPr>
              <a:t>Set priority, due date, etc.</a:t>
            </a:r>
          </a:p>
          <a:p>
            <a:pPr lvl="1"/>
            <a:endParaRPr lang="en-US" sz="1400" dirty="0">
              <a:solidFill>
                <a:srgbClr val="3F5073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r>
              <a:rPr lang="en-US" sz="1400" dirty="0">
                <a:solidFill>
                  <a:srgbClr val="F86F35"/>
                </a:solidFill>
                <a:latin typeface="Open Sans SemiBold"/>
                <a:ea typeface="Open Sans"/>
                <a:cs typeface="Open Sans"/>
              </a:rPr>
              <a:t>AI-driven generation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F5073"/>
                </a:solidFill>
                <a:latin typeface="Open Sans"/>
                <a:ea typeface="Open Sans"/>
                <a:cs typeface="Open Sans"/>
              </a:rPr>
              <a:t>Application documentation: System + Us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F5073"/>
                </a:solidFill>
                <a:latin typeface="Open Sans"/>
                <a:ea typeface="Open Sans"/>
                <a:cs typeface="Open Sans"/>
              </a:rPr>
              <a:t>User stori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F5073"/>
                </a:solidFill>
                <a:latin typeface="Open Sans"/>
                <a:ea typeface="Open Sans"/>
                <a:cs typeface="Open Sans"/>
              </a:rPr>
              <a:t>Test cas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F5073"/>
                </a:solidFill>
                <a:latin typeface="Open Sans"/>
                <a:ea typeface="Open Sans"/>
                <a:cs typeface="Open Sans"/>
              </a:rPr>
              <a:t>Automation framewor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F5073"/>
                </a:solidFill>
                <a:latin typeface="Open Sans"/>
                <a:ea typeface="Open Sans"/>
                <a:cs typeface="Open Sans"/>
              </a:rPr>
              <a:t>Automation scripts</a:t>
            </a:r>
          </a:p>
        </p:txBody>
      </p:sp>
    </p:spTree>
    <p:extLst>
      <p:ext uri="{BB962C8B-B14F-4D97-AF65-F5344CB8AC3E}">
        <p14:creationId xmlns:p14="http://schemas.microsoft.com/office/powerpoint/2010/main" val="37639950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D06C9F2-175D-7687-F423-BF39B82D3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Imagen 77" descr="Forma&#10;&#10;El contenido generado por IA puede ser incorrecto.">
            <a:extLst>
              <a:ext uri="{FF2B5EF4-FFF2-40B4-BE49-F238E27FC236}">
                <a16:creationId xmlns:a16="http://schemas.microsoft.com/office/drawing/2014/main" id="{A4D058D8-1A0E-EB4B-E8EA-0F2CD1888A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200" y="1858150"/>
            <a:ext cx="5262005" cy="4383604"/>
          </a:xfrm>
          <a:prstGeom prst="rect">
            <a:avLst/>
          </a:prstGeom>
        </p:spPr>
      </p:pic>
      <p:sp>
        <p:nvSpPr>
          <p:cNvPr id="151" name="CuadroTexto 150">
            <a:extLst>
              <a:ext uri="{FF2B5EF4-FFF2-40B4-BE49-F238E27FC236}">
                <a16:creationId xmlns:a16="http://schemas.microsoft.com/office/drawing/2014/main" id="{1D8CF9E8-F532-5C61-4672-CA152B899F95}"/>
              </a:ext>
            </a:extLst>
          </p:cNvPr>
          <p:cNvSpPr txBox="1"/>
          <p:nvPr/>
        </p:nvSpPr>
        <p:spPr>
          <a:xfrm>
            <a:off x="6867668" y="2782880"/>
            <a:ext cx="24718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3F507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complete </a:t>
            </a:r>
            <a:r>
              <a:rPr lang="en-US" sz="1200" dirty="0">
                <a:solidFill>
                  <a:srgbClr val="3F5073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utomation Framework </a:t>
            </a:r>
            <a:r>
              <a:rPr lang="en-US" sz="1200" dirty="0">
                <a:solidFill>
                  <a:srgbClr val="3F507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s built:</a:t>
            </a:r>
          </a:p>
        </p:txBody>
      </p:sp>
      <p:pic>
        <p:nvPicPr>
          <p:cNvPr id="3" name="Imagen 2" descr="Interfaz de usuario gráfica&#10;&#10;El contenido generado por IA puede ser incorrecto.">
            <a:extLst>
              <a:ext uri="{FF2B5EF4-FFF2-40B4-BE49-F238E27FC236}">
                <a16:creationId xmlns:a16="http://schemas.microsoft.com/office/drawing/2014/main" id="{ACFB61B7-BE00-FB27-D36E-F75F658DED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200" y="466625"/>
            <a:ext cx="2708788" cy="1106956"/>
          </a:xfrm>
          <a:prstGeom prst="rect">
            <a:avLst/>
          </a:prstGeom>
        </p:spPr>
      </p:pic>
      <p:pic>
        <p:nvPicPr>
          <p:cNvPr id="12" name="Imagen 11" descr="Interfaz de usuario gráfica&#10;&#10;El contenido generado por IA puede ser incorrecto.">
            <a:extLst>
              <a:ext uri="{FF2B5EF4-FFF2-40B4-BE49-F238E27FC236}">
                <a16:creationId xmlns:a16="http://schemas.microsoft.com/office/drawing/2014/main" id="{6E7FE4E6-610E-F8E4-E184-A4D0C743973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9935" y="466625"/>
            <a:ext cx="2708788" cy="1106956"/>
          </a:xfrm>
          <a:prstGeom prst="rect">
            <a:avLst/>
          </a:prstGeom>
        </p:spPr>
      </p:pic>
      <p:pic>
        <p:nvPicPr>
          <p:cNvPr id="14" name="Imagen 13" descr="Interfaz de usuario gráfica&#10;&#10;El contenido generado por IA puede ser incorrecto.">
            <a:extLst>
              <a:ext uri="{FF2B5EF4-FFF2-40B4-BE49-F238E27FC236}">
                <a16:creationId xmlns:a16="http://schemas.microsoft.com/office/drawing/2014/main" id="{38866C16-F453-85BC-DB92-2671F4F48D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7670" y="466625"/>
            <a:ext cx="2708788" cy="1106956"/>
          </a:xfrm>
          <a:prstGeom prst="rect">
            <a:avLst/>
          </a:prstGeom>
        </p:spPr>
      </p:pic>
      <p:pic>
        <p:nvPicPr>
          <p:cNvPr id="17" name="Imagen 16" descr="Interfaz de usuario gráfica&#10;&#10;El contenido generado por IA puede ser incorrecto.">
            <a:extLst>
              <a:ext uri="{FF2B5EF4-FFF2-40B4-BE49-F238E27FC236}">
                <a16:creationId xmlns:a16="http://schemas.microsoft.com/office/drawing/2014/main" id="{54DDA5E7-413C-0C41-3EBC-67AF96E856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5404" y="466625"/>
            <a:ext cx="2708788" cy="1106956"/>
          </a:xfrm>
          <a:prstGeom prst="rect">
            <a:avLst/>
          </a:prstGeom>
        </p:spPr>
      </p:pic>
      <p:sp>
        <p:nvSpPr>
          <p:cNvPr id="20" name="CuadroTexto 19">
            <a:extLst>
              <a:ext uri="{FF2B5EF4-FFF2-40B4-BE49-F238E27FC236}">
                <a16:creationId xmlns:a16="http://schemas.microsoft.com/office/drawing/2014/main" id="{53250804-CAF2-398B-1413-4C42041BD7D5}"/>
              </a:ext>
            </a:extLst>
          </p:cNvPr>
          <p:cNvSpPr txBox="1"/>
          <p:nvPr/>
        </p:nvSpPr>
        <p:spPr>
          <a:xfrm>
            <a:off x="589552" y="925419"/>
            <a:ext cx="151996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3F507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pplication Analysis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3B94313E-6FAD-86F7-3192-A14D9B2487EF}"/>
              </a:ext>
            </a:extLst>
          </p:cNvPr>
          <p:cNvSpPr txBox="1"/>
          <p:nvPr/>
        </p:nvSpPr>
        <p:spPr>
          <a:xfrm>
            <a:off x="3538664" y="773643"/>
            <a:ext cx="1695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3F507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pplication is fully </a:t>
            </a:r>
            <a:r>
              <a:rPr lang="en-US" sz="1200" b="1" dirty="0">
                <a:solidFill>
                  <a:srgbClr val="3F507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cumented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236B4734-F45C-FF8D-7438-1072CC585C28}"/>
              </a:ext>
            </a:extLst>
          </p:cNvPr>
          <p:cNvSpPr txBox="1"/>
          <p:nvPr/>
        </p:nvSpPr>
        <p:spPr>
          <a:xfrm>
            <a:off x="6408819" y="687416"/>
            <a:ext cx="17591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3F507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pp documentation is used to generate </a:t>
            </a:r>
            <a:r>
              <a:rPr lang="en-US" sz="1200" b="1" dirty="0">
                <a:solidFill>
                  <a:srgbClr val="3F507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er Stories</a:t>
            </a:r>
            <a:endParaRPr lang="en-US" sz="1200" dirty="0">
              <a:solidFill>
                <a:srgbClr val="3F507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48D8E8B7-56B9-C32D-5701-50A09A91D74E}"/>
              </a:ext>
            </a:extLst>
          </p:cNvPr>
          <p:cNvSpPr txBox="1"/>
          <p:nvPr/>
        </p:nvSpPr>
        <p:spPr>
          <a:xfrm>
            <a:off x="9287220" y="779748"/>
            <a:ext cx="17974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3F507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er Stories generate </a:t>
            </a:r>
            <a:r>
              <a:rPr lang="en-US" sz="1200" b="1" dirty="0">
                <a:solidFill>
                  <a:srgbClr val="3F507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st Cases </a:t>
            </a:r>
            <a:r>
              <a:rPr lang="en-US" sz="1200" dirty="0">
                <a:solidFill>
                  <a:srgbClr val="3F507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Feature Files)</a:t>
            </a:r>
          </a:p>
        </p:txBody>
      </p:sp>
      <p:pic>
        <p:nvPicPr>
          <p:cNvPr id="32" name="Gráfico 31">
            <a:extLst>
              <a:ext uri="{FF2B5EF4-FFF2-40B4-BE49-F238E27FC236}">
                <a16:creationId xmlns:a16="http://schemas.microsoft.com/office/drawing/2014/main" id="{9A41C932-F02D-7FC5-E34C-3B10259179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455297" y="858346"/>
            <a:ext cx="489457" cy="411144"/>
          </a:xfrm>
          <a:prstGeom prst="rect">
            <a:avLst/>
          </a:prstGeom>
        </p:spPr>
      </p:pic>
      <p:sp>
        <p:nvSpPr>
          <p:cNvPr id="38" name="CuadroTexto 37">
            <a:extLst>
              <a:ext uri="{FF2B5EF4-FFF2-40B4-BE49-F238E27FC236}">
                <a16:creationId xmlns:a16="http://schemas.microsoft.com/office/drawing/2014/main" id="{D1EF1D9A-1F27-3DBF-687D-C150C5B34003}"/>
              </a:ext>
            </a:extLst>
          </p:cNvPr>
          <p:cNvSpPr txBox="1"/>
          <p:nvPr/>
        </p:nvSpPr>
        <p:spPr>
          <a:xfrm>
            <a:off x="407089" y="474144"/>
            <a:ext cx="2872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rPr>
              <a:t>0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99A53788-A211-7BCB-8831-844B1197CACB}"/>
              </a:ext>
            </a:extLst>
          </p:cNvPr>
          <p:cNvSpPr txBox="1"/>
          <p:nvPr/>
        </p:nvSpPr>
        <p:spPr>
          <a:xfrm>
            <a:off x="3314195" y="473537"/>
            <a:ext cx="2872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rPr>
              <a:t>1</a:t>
            </a: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94B48D24-D5DD-BC37-8D9E-EA56214A27CF}"/>
              </a:ext>
            </a:extLst>
          </p:cNvPr>
          <p:cNvSpPr txBox="1"/>
          <p:nvPr/>
        </p:nvSpPr>
        <p:spPr>
          <a:xfrm>
            <a:off x="6227403" y="473203"/>
            <a:ext cx="2872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rPr>
              <a:t>2</a:t>
            </a: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6C24770C-BE21-FA44-239A-E3C4FA4DC7C6}"/>
              </a:ext>
            </a:extLst>
          </p:cNvPr>
          <p:cNvSpPr txBox="1"/>
          <p:nvPr/>
        </p:nvSpPr>
        <p:spPr>
          <a:xfrm>
            <a:off x="9128560" y="473203"/>
            <a:ext cx="2872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rPr>
              <a:t>3</a:t>
            </a:r>
          </a:p>
        </p:txBody>
      </p:sp>
      <p:pic>
        <p:nvPicPr>
          <p:cNvPr id="51" name="Gráfico 50">
            <a:extLst>
              <a:ext uri="{FF2B5EF4-FFF2-40B4-BE49-F238E27FC236}">
                <a16:creationId xmlns:a16="http://schemas.microsoft.com/office/drawing/2014/main" id="{8FC20564-B979-6FA0-A2D2-C757C036F17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392804" y="820969"/>
            <a:ext cx="448830" cy="498700"/>
          </a:xfrm>
          <a:prstGeom prst="rect">
            <a:avLst/>
          </a:prstGeom>
        </p:spPr>
      </p:pic>
      <p:pic>
        <p:nvPicPr>
          <p:cNvPr id="63" name="Gráfico 62">
            <a:extLst>
              <a:ext uri="{FF2B5EF4-FFF2-40B4-BE49-F238E27FC236}">
                <a16:creationId xmlns:a16="http://schemas.microsoft.com/office/drawing/2014/main" id="{AEBF8B67-08D3-3364-3678-43747A6EE3A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299514" y="821146"/>
            <a:ext cx="448830" cy="498700"/>
          </a:xfrm>
          <a:prstGeom prst="rect">
            <a:avLst/>
          </a:prstGeom>
        </p:spPr>
      </p:pic>
      <p:pic>
        <p:nvPicPr>
          <p:cNvPr id="64" name="Gráfico 63">
            <a:extLst>
              <a:ext uri="{FF2B5EF4-FFF2-40B4-BE49-F238E27FC236}">
                <a16:creationId xmlns:a16="http://schemas.microsoft.com/office/drawing/2014/main" id="{BF1B4759-8825-DB56-D625-E922C4AE342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06244" y="814568"/>
            <a:ext cx="448830" cy="498700"/>
          </a:xfrm>
          <a:prstGeom prst="rect">
            <a:avLst/>
          </a:prstGeom>
        </p:spPr>
      </p:pic>
      <p:cxnSp>
        <p:nvCxnSpPr>
          <p:cNvPr id="69" name="Conector recto de flecha 68">
            <a:extLst>
              <a:ext uri="{FF2B5EF4-FFF2-40B4-BE49-F238E27FC236}">
                <a16:creationId xmlns:a16="http://schemas.microsoft.com/office/drawing/2014/main" id="{75919465-3BBA-D34F-4F5C-C7AA7822306E}"/>
              </a:ext>
            </a:extLst>
          </p:cNvPr>
          <p:cNvCxnSpPr>
            <a:cxnSpLocks/>
          </p:cNvCxnSpPr>
          <p:nvPr/>
        </p:nvCxnSpPr>
        <p:spPr>
          <a:xfrm>
            <a:off x="2781344" y="1518414"/>
            <a:ext cx="532851" cy="6578"/>
          </a:xfrm>
          <a:prstGeom prst="straightConnector1">
            <a:avLst/>
          </a:prstGeom>
          <a:ln w="9525">
            <a:solidFill>
              <a:srgbClr val="F86F3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ector recto de flecha 70">
            <a:extLst>
              <a:ext uri="{FF2B5EF4-FFF2-40B4-BE49-F238E27FC236}">
                <a16:creationId xmlns:a16="http://schemas.microsoft.com/office/drawing/2014/main" id="{10F96E07-CE64-86F6-3BE1-3DB8ACBBF811}"/>
              </a:ext>
            </a:extLst>
          </p:cNvPr>
          <p:cNvCxnSpPr>
            <a:cxnSpLocks/>
          </p:cNvCxnSpPr>
          <p:nvPr/>
        </p:nvCxnSpPr>
        <p:spPr>
          <a:xfrm>
            <a:off x="5694552" y="1511835"/>
            <a:ext cx="532851" cy="6578"/>
          </a:xfrm>
          <a:prstGeom prst="straightConnector1">
            <a:avLst/>
          </a:prstGeom>
          <a:ln w="9525">
            <a:solidFill>
              <a:srgbClr val="F86F3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de flecha 71">
            <a:extLst>
              <a:ext uri="{FF2B5EF4-FFF2-40B4-BE49-F238E27FC236}">
                <a16:creationId xmlns:a16="http://schemas.microsoft.com/office/drawing/2014/main" id="{13D46AC9-35C8-4096-38F3-0BA0CB8E2686}"/>
              </a:ext>
            </a:extLst>
          </p:cNvPr>
          <p:cNvCxnSpPr>
            <a:cxnSpLocks/>
          </p:cNvCxnSpPr>
          <p:nvPr/>
        </p:nvCxnSpPr>
        <p:spPr>
          <a:xfrm>
            <a:off x="8596640" y="1524992"/>
            <a:ext cx="532851" cy="6578"/>
          </a:xfrm>
          <a:prstGeom prst="straightConnector1">
            <a:avLst/>
          </a:prstGeom>
          <a:ln w="9525">
            <a:solidFill>
              <a:srgbClr val="F86F3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áfico 5">
            <a:extLst>
              <a:ext uri="{FF2B5EF4-FFF2-40B4-BE49-F238E27FC236}">
                <a16:creationId xmlns:a16="http://schemas.microsoft.com/office/drawing/2014/main" id="{373C0A2F-50DF-4BD1-2B85-CA9F86E8B07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6124462" y="2063858"/>
            <a:ext cx="3282739" cy="4057831"/>
          </a:xfrm>
          <a:prstGeom prst="rect">
            <a:avLst/>
          </a:prstGeom>
        </p:spPr>
      </p:pic>
      <p:sp>
        <p:nvSpPr>
          <p:cNvPr id="7" name="Elipse 6">
            <a:extLst>
              <a:ext uri="{FF2B5EF4-FFF2-40B4-BE49-F238E27FC236}">
                <a16:creationId xmlns:a16="http://schemas.microsoft.com/office/drawing/2014/main" id="{816503FA-0967-4C69-2C1B-6618C7F53E92}"/>
              </a:ext>
            </a:extLst>
          </p:cNvPr>
          <p:cNvSpPr/>
          <p:nvPr/>
        </p:nvSpPr>
        <p:spPr>
          <a:xfrm>
            <a:off x="6336069" y="2213146"/>
            <a:ext cx="478465" cy="478465"/>
          </a:xfrm>
          <a:prstGeom prst="ellipse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53E4B9E2-D756-7324-9AC6-989B8B0E3BC8}"/>
              </a:ext>
            </a:extLst>
          </p:cNvPr>
          <p:cNvSpPr txBox="1"/>
          <p:nvPr/>
        </p:nvSpPr>
        <p:spPr>
          <a:xfrm>
            <a:off x="6438068" y="2305255"/>
            <a:ext cx="2872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rPr>
              <a:t>5</a:t>
            </a:r>
          </a:p>
        </p:txBody>
      </p:sp>
      <p:sp>
        <p:nvSpPr>
          <p:cNvPr id="154" name="CuadroTexto 153">
            <a:extLst>
              <a:ext uri="{FF2B5EF4-FFF2-40B4-BE49-F238E27FC236}">
                <a16:creationId xmlns:a16="http://schemas.microsoft.com/office/drawing/2014/main" id="{ADF116AC-C87D-BC61-5FE9-7620D25DF761}"/>
              </a:ext>
            </a:extLst>
          </p:cNvPr>
          <p:cNvSpPr txBox="1"/>
          <p:nvPr/>
        </p:nvSpPr>
        <p:spPr>
          <a:xfrm>
            <a:off x="2583671" y="3872552"/>
            <a:ext cx="722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>
                <a:solidFill>
                  <a:srgbClr val="3F507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uput</a:t>
            </a:r>
            <a:endParaRPr lang="en-US" sz="1200" dirty="0">
              <a:solidFill>
                <a:srgbClr val="3F507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5" name="CuadroTexto 154">
            <a:extLst>
              <a:ext uri="{FF2B5EF4-FFF2-40B4-BE49-F238E27FC236}">
                <a16:creationId xmlns:a16="http://schemas.microsoft.com/office/drawing/2014/main" id="{E7B5A13F-23EA-881D-61A4-CFAB6EAAD23D}"/>
              </a:ext>
            </a:extLst>
          </p:cNvPr>
          <p:cNvSpPr txBox="1"/>
          <p:nvPr/>
        </p:nvSpPr>
        <p:spPr>
          <a:xfrm>
            <a:off x="3845875" y="3242039"/>
            <a:ext cx="1739439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200" dirty="0">
                <a:solidFill>
                  <a:srgbClr val="3B43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omated test case execution</a:t>
            </a:r>
            <a:endParaRPr lang="en-US" sz="1200" dirty="0">
              <a:solidFill>
                <a:srgbClr val="3F507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endParaRPr lang="en-US" sz="1200" dirty="0">
              <a:solidFill>
                <a:srgbClr val="3F507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200" dirty="0">
                <a:solidFill>
                  <a:srgbClr val="3B43F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ecution report</a:t>
            </a:r>
          </a:p>
        </p:txBody>
      </p:sp>
      <p:grpSp>
        <p:nvGrpSpPr>
          <p:cNvPr id="27" name="Grupo 26">
            <a:extLst>
              <a:ext uri="{FF2B5EF4-FFF2-40B4-BE49-F238E27FC236}">
                <a16:creationId xmlns:a16="http://schemas.microsoft.com/office/drawing/2014/main" id="{8C11D6AA-6C48-5810-C54C-E5EA87389339}"/>
              </a:ext>
            </a:extLst>
          </p:cNvPr>
          <p:cNvGrpSpPr/>
          <p:nvPr/>
        </p:nvGrpSpPr>
        <p:grpSpPr>
          <a:xfrm>
            <a:off x="2591593" y="3278970"/>
            <a:ext cx="478465" cy="478465"/>
            <a:chOff x="2148734" y="3761334"/>
            <a:chExt cx="478465" cy="478465"/>
          </a:xfrm>
        </p:grpSpPr>
        <p:sp>
          <p:nvSpPr>
            <p:cNvPr id="98" name="Elipse 97">
              <a:extLst>
                <a:ext uri="{FF2B5EF4-FFF2-40B4-BE49-F238E27FC236}">
                  <a16:creationId xmlns:a16="http://schemas.microsoft.com/office/drawing/2014/main" id="{D0910BBF-39FB-8136-A371-FDBCC2FAC724}"/>
                </a:ext>
              </a:extLst>
            </p:cNvPr>
            <p:cNvSpPr/>
            <p:nvPr/>
          </p:nvSpPr>
          <p:spPr>
            <a:xfrm>
              <a:off x="2148734" y="3761334"/>
              <a:ext cx="478465" cy="478465"/>
            </a:xfrm>
            <a:prstGeom prst="ellipse">
              <a:avLst/>
            </a:prstGeom>
            <a:solidFill>
              <a:srgbClr val="F86F3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CuadroTexto 100">
              <a:extLst>
                <a:ext uri="{FF2B5EF4-FFF2-40B4-BE49-F238E27FC236}">
                  <a16:creationId xmlns:a16="http://schemas.microsoft.com/office/drawing/2014/main" id="{D3A8355F-4C5C-C873-37EE-5523029F0C1B}"/>
                </a:ext>
              </a:extLst>
            </p:cNvPr>
            <p:cNvSpPr txBox="1"/>
            <p:nvPr/>
          </p:nvSpPr>
          <p:spPr>
            <a:xfrm>
              <a:off x="2248982" y="3857162"/>
              <a:ext cx="28725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  <a:latin typeface="Open Sans bold" panose="020B0806030504020204" pitchFamily="34" charset="0"/>
                  <a:ea typeface="Open Sans bold" panose="020B0806030504020204" pitchFamily="34" charset="0"/>
                  <a:cs typeface="Open Sans bold" panose="020B0806030504020204" pitchFamily="34" charset="0"/>
                </a:rPr>
                <a:t>6</a:t>
              </a:r>
            </a:p>
          </p:txBody>
        </p:sp>
      </p:grpSp>
      <p:pic>
        <p:nvPicPr>
          <p:cNvPr id="112" name="Gráfico 111">
            <a:extLst>
              <a:ext uri="{FF2B5EF4-FFF2-40B4-BE49-F238E27FC236}">
                <a16:creationId xmlns:a16="http://schemas.microsoft.com/office/drawing/2014/main" id="{4BDFE4D5-E5B3-C33B-E27B-4FDF722CF29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202008" y="3291851"/>
            <a:ext cx="634283" cy="634283"/>
          </a:xfrm>
          <a:prstGeom prst="rect">
            <a:avLst/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DB7E7724-083E-1B35-23FA-613EFB901BA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111255" y="4227839"/>
            <a:ext cx="744700" cy="744700"/>
          </a:xfrm>
          <a:prstGeom prst="rect">
            <a:avLst/>
          </a:prstGeom>
        </p:spPr>
      </p:pic>
      <p:cxnSp>
        <p:nvCxnSpPr>
          <p:cNvPr id="33" name="Conector: angular 32">
            <a:extLst>
              <a:ext uri="{FF2B5EF4-FFF2-40B4-BE49-F238E27FC236}">
                <a16:creationId xmlns:a16="http://schemas.microsoft.com/office/drawing/2014/main" id="{B17CA687-0270-211F-0324-FEA4C30887F8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869734" y="2651802"/>
            <a:ext cx="1088355" cy="938315"/>
          </a:xfrm>
          <a:prstGeom prst="bentConnector3">
            <a:avLst>
              <a:gd name="adj1" fmla="val 100773"/>
            </a:avLst>
          </a:prstGeom>
          <a:ln w="19050">
            <a:solidFill>
              <a:srgbClr val="F86F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: angular 36">
            <a:extLst>
              <a:ext uri="{FF2B5EF4-FFF2-40B4-BE49-F238E27FC236}">
                <a16:creationId xmlns:a16="http://schemas.microsoft.com/office/drawing/2014/main" id="{586FCDE2-9849-E925-E501-2336A9A3A181}"/>
              </a:ext>
            </a:extLst>
          </p:cNvPr>
          <p:cNvCxnSpPr>
            <a:cxnSpLocks/>
          </p:cNvCxnSpPr>
          <p:nvPr/>
        </p:nvCxnSpPr>
        <p:spPr>
          <a:xfrm rot="16200000" flipH="1">
            <a:off x="2831936" y="4536453"/>
            <a:ext cx="1088355" cy="938315"/>
          </a:xfrm>
          <a:prstGeom prst="bentConnector3">
            <a:avLst>
              <a:gd name="adj1" fmla="val 100773"/>
            </a:avLst>
          </a:prstGeom>
          <a:ln w="19050">
            <a:solidFill>
              <a:srgbClr val="F86F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upo 24">
            <a:extLst>
              <a:ext uri="{FF2B5EF4-FFF2-40B4-BE49-F238E27FC236}">
                <a16:creationId xmlns:a16="http://schemas.microsoft.com/office/drawing/2014/main" id="{EA921D3C-508A-81F7-1B18-2D69BE19FA18}"/>
              </a:ext>
            </a:extLst>
          </p:cNvPr>
          <p:cNvGrpSpPr/>
          <p:nvPr/>
        </p:nvGrpSpPr>
        <p:grpSpPr>
          <a:xfrm>
            <a:off x="7221588" y="3489216"/>
            <a:ext cx="1537600" cy="1834272"/>
            <a:chOff x="7221588" y="3489216"/>
            <a:chExt cx="1537600" cy="1834272"/>
          </a:xfrm>
        </p:grpSpPr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73A01E4C-5EDA-6B39-C301-23F5F243CA62}"/>
                </a:ext>
              </a:extLst>
            </p:cNvPr>
            <p:cNvSpPr txBox="1"/>
            <p:nvPr/>
          </p:nvSpPr>
          <p:spPr>
            <a:xfrm>
              <a:off x="7221588" y="3687449"/>
              <a:ext cx="1537600" cy="261610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rgbClr val="3F5073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tep Definitions</a:t>
              </a:r>
            </a:p>
          </p:txBody>
        </p:sp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0470FCFE-110E-9BC6-114A-E55337C08A9B}"/>
                </a:ext>
              </a:extLst>
            </p:cNvPr>
            <p:cNvSpPr txBox="1"/>
            <p:nvPr/>
          </p:nvSpPr>
          <p:spPr>
            <a:xfrm>
              <a:off x="7221588" y="4104741"/>
              <a:ext cx="1537600" cy="261610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US" sz="1100" dirty="0">
                  <a:solidFill>
                    <a:srgbClr val="3F5073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age Objects</a:t>
              </a:r>
            </a:p>
          </p:txBody>
        </p:sp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4B4A4BF2-9B71-7348-0D94-67AC8FF453E9}"/>
                </a:ext>
              </a:extLst>
            </p:cNvPr>
            <p:cNvSpPr txBox="1"/>
            <p:nvPr/>
          </p:nvSpPr>
          <p:spPr>
            <a:xfrm>
              <a:off x="7221588" y="4542398"/>
              <a:ext cx="1537600" cy="261610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US" sz="1100" dirty="0">
                  <a:solidFill>
                    <a:srgbClr val="3F5073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Utilities</a:t>
              </a:r>
            </a:p>
          </p:txBody>
        </p:sp>
        <p:sp>
          <p:nvSpPr>
            <p:cNvPr id="24" name="CuadroTexto 23">
              <a:extLst>
                <a:ext uri="{FF2B5EF4-FFF2-40B4-BE49-F238E27FC236}">
                  <a16:creationId xmlns:a16="http://schemas.microsoft.com/office/drawing/2014/main" id="{27A09DBE-BE0E-21A5-444F-81DF29A77D68}"/>
                </a:ext>
              </a:extLst>
            </p:cNvPr>
            <p:cNvSpPr txBox="1"/>
            <p:nvPr/>
          </p:nvSpPr>
          <p:spPr>
            <a:xfrm>
              <a:off x="7308195" y="4972726"/>
              <a:ext cx="1364386" cy="261610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rgbClr val="3F5073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eporting Module</a:t>
              </a:r>
            </a:p>
          </p:txBody>
        </p:sp>
        <p:pic>
          <p:nvPicPr>
            <p:cNvPr id="30" name="Gráfico 29">
              <a:extLst>
                <a:ext uri="{FF2B5EF4-FFF2-40B4-BE49-F238E27FC236}">
                  <a16:creationId xmlns:a16="http://schemas.microsoft.com/office/drawing/2014/main" id="{14283158-7E67-0F9F-AEFB-25FC0D4202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/>
          </p:blipFill>
          <p:spPr>
            <a:xfrm>
              <a:off x="7330810" y="3489216"/>
              <a:ext cx="1335088" cy="560737"/>
            </a:xfrm>
            <a:prstGeom prst="rect">
              <a:avLst/>
            </a:prstGeom>
          </p:spPr>
        </p:pic>
        <p:pic>
          <p:nvPicPr>
            <p:cNvPr id="8" name="Gráfico 7">
              <a:extLst>
                <a:ext uri="{FF2B5EF4-FFF2-40B4-BE49-F238E27FC236}">
                  <a16:creationId xmlns:a16="http://schemas.microsoft.com/office/drawing/2014/main" id="{C25C6D4D-F6DB-039D-7ED0-D5AEB7B4B5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/>
            <a:stretch/>
          </p:blipFill>
          <p:spPr>
            <a:xfrm>
              <a:off x="7339984" y="4013146"/>
              <a:ext cx="1317948" cy="463723"/>
            </a:xfrm>
            <a:prstGeom prst="rect">
              <a:avLst/>
            </a:prstGeom>
          </p:spPr>
        </p:pic>
        <p:pic>
          <p:nvPicPr>
            <p:cNvPr id="2" name="Gráfico 1">
              <a:extLst>
                <a:ext uri="{FF2B5EF4-FFF2-40B4-BE49-F238E27FC236}">
                  <a16:creationId xmlns:a16="http://schemas.microsoft.com/office/drawing/2014/main" id="{3243985E-7396-C585-9E83-E3C14CCFF1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/>
            <a:stretch/>
          </p:blipFill>
          <p:spPr>
            <a:xfrm>
              <a:off x="7339380" y="4440828"/>
              <a:ext cx="1317948" cy="463723"/>
            </a:xfrm>
            <a:prstGeom prst="rect">
              <a:avLst/>
            </a:prstGeom>
          </p:spPr>
        </p:pic>
        <p:pic>
          <p:nvPicPr>
            <p:cNvPr id="11" name="Gráfico 10">
              <a:extLst>
                <a:ext uri="{FF2B5EF4-FFF2-40B4-BE49-F238E27FC236}">
                  <a16:creationId xmlns:a16="http://schemas.microsoft.com/office/drawing/2014/main" id="{4BFDAD6C-70F1-A0A3-529A-19C5374C1C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/>
            <a:stretch/>
          </p:blipFill>
          <p:spPr>
            <a:xfrm>
              <a:off x="7338776" y="4859765"/>
              <a:ext cx="1317948" cy="463723"/>
            </a:xfrm>
            <a:prstGeom prst="rect">
              <a:avLst/>
            </a:prstGeom>
          </p:spPr>
        </p:pic>
      </p:grpSp>
      <p:grpSp>
        <p:nvGrpSpPr>
          <p:cNvPr id="29" name="Grupo 28">
            <a:extLst>
              <a:ext uri="{FF2B5EF4-FFF2-40B4-BE49-F238E27FC236}">
                <a16:creationId xmlns:a16="http://schemas.microsoft.com/office/drawing/2014/main" id="{4D66FADD-79E9-4E5F-14F3-1B91FCFF407C}"/>
              </a:ext>
            </a:extLst>
          </p:cNvPr>
          <p:cNvGrpSpPr/>
          <p:nvPr/>
        </p:nvGrpSpPr>
        <p:grpSpPr>
          <a:xfrm>
            <a:off x="4177345" y="213423"/>
            <a:ext cx="517029" cy="517029"/>
            <a:chOff x="4177345" y="263951"/>
            <a:chExt cx="517029" cy="517029"/>
          </a:xfrm>
        </p:grpSpPr>
        <p:sp>
          <p:nvSpPr>
            <p:cNvPr id="9" name="Rectángulo: esquinas redondeadas 8">
              <a:extLst>
                <a:ext uri="{FF2B5EF4-FFF2-40B4-BE49-F238E27FC236}">
                  <a16:creationId xmlns:a16="http://schemas.microsoft.com/office/drawing/2014/main" id="{C5D90053-D3AB-444B-DBB5-0D345D67C379}"/>
                </a:ext>
              </a:extLst>
            </p:cNvPr>
            <p:cNvSpPr/>
            <p:nvPr/>
          </p:nvSpPr>
          <p:spPr>
            <a:xfrm>
              <a:off x="4177345" y="263951"/>
              <a:ext cx="517029" cy="517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F86F3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0" name="Imagen 91" descr="Icono&#10;&#10;El contenido generado por IA puede ser incorrecto.">
              <a:extLst>
                <a:ext uri="{FF2B5EF4-FFF2-40B4-BE49-F238E27FC236}">
                  <a16:creationId xmlns:a16="http://schemas.microsoft.com/office/drawing/2014/main" id="{52969578-9ED3-3FC4-4221-B0A05F328D4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7028" y="303634"/>
              <a:ext cx="437662" cy="437662"/>
            </a:xfrm>
            <a:prstGeom prst="rect">
              <a:avLst/>
            </a:prstGeom>
          </p:spPr>
        </p:pic>
      </p:grpSp>
      <p:grpSp>
        <p:nvGrpSpPr>
          <p:cNvPr id="31" name="Grupo 30">
            <a:extLst>
              <a:ext uri="{FF2B5EF4-FFF2-40B4-BE49-F238E27FC236}">
                <a16:creationId xmlns:a16="http://schemas.microsoft.com/office/drawing/2014/main" id="{9D7F3815-BF26-8ED2-1A6C-8AAFB8932071}"/>
              </a:ext>
            </a:extLst>
          </p:cNvPr>
          <p:cNvGrpSpPr/>
          <p:nvPr/>
        </p:nvGrpSpPr>
        <p:grpSpPr>
          <a:xfrm>
            <a:off x="7198530" y="213423"/>
            <a:ext cx="517029" cy="517029"/>
            <a:chOff x="4177345" y="263951"/>
            <a:chExt cx="517029" cy="517029"/>
          </a:xfrm>
        </p:grpSpPr>
        <p:sp>
          <p:nvSpPr>
            <p:cNvPr id="34" name="Rectángulo: esquinas redondeadas 33">
              <a:extLst>
                <a:ext uri="{FF2B5EF4-FFF2-40B4-BE49-F238E27FC236}">
                  <a16:creationId xmlns:a16="http://schemas.microsoft.com/office/drawing/2014/main" id="{435FB315-E087-3EB6-4E48-C0830089FF3B}"/>
                </a:ext>
              </a:extLst>
            </p:cNvPr>
            <p:cNvSpPr/>
            <p:nvPr/>
          </p:nvSpPr>
          <p:spPr>
            <a:xfrm>
              <a:off x="4177345" y="263951"/>
              <a:ext cx="517029" cy="517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F86F3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5" name="Imagen 91" descr="Icono&#10;&#10;El contenido generado por IA puede ser incorrecto.">
              <a:extLst>
                <a:ext uri="{FF2B5EF4-FFF2-40B4-BE49-F238E27FC236}">
                  <a16:creationId xmlns:a16="http://schemas.microsoft.com/office/drawing/2014/main" id="{B4C44608-56DF-C865-0737-225E50DE726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7028" y="303634"/>
              <a:ext cx="437662" cy="437662"/>
            </a:xfrm>
            <a:prstGeom prst="rect">
              <a:avLst/>
            </a:prstGeom>
          </p:spPr>
        </p:pic>
      </p:grpSp>
      <p:grpSp>
        <p:nvGrpSpPr>
          <p:cNvPr id="36" name="Grupo 35">
            <a:extLst>
              <a:ext uri="{FF2B5EF4-FFF2-40B4-BE49-F238E27FC236}">
                <a16:creationId xmlns:a16="http://schemas.microsoft.com/office/drawing/2014/main" id="{224883AC-7AF9-76B2-62AC-7788F9C5A711}"/>
              </a:ext>
            </a:extLst>
          </p:cNvPr>
          <p:cNvGrpSpPr/>
          <p:nvPr/>
        </p:nvGrpSpPr>
        <p:grpSpPr>
          <a:xfrm>
            <a:off x="10046816" y="214688"/>
            <a:ext cx="517029" cy="517029"/>
            <a:chOff x="4177345" y="263951"/>
            <a:chExt cx="517029" cy="517029"/>
          </a:xfrm>
        </p:grpSpPr>
        <p:sp>
          <p:nvSpPr>
            <p:cNvPr id="39" name="Rectángulo: esquinas redondeadas 38">
              <a:extLst>
                <a:ext uri="{FF2B5EF4-FFF2-40B4-BE49-F238E27FC236}">
                  <a16:creationId xmlns:a16="http://schemas.microsoft.com/office/drawing/2014/main" id="{48D6BCF6-12AB-D233-15DC-89E4EC31A7E2}"/>
                </a:ext>
              </a:extLst>
            </p:cNvPr>
            <p:cNvSpPr/>
            <p:nvPr/>
          </p:nvSpPr>
          <p:spPr>
            <a:xfrm>
              <a:off x="4177345" y="263951"/>
              <a:ext cx="517029" cy="517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F86F3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42" name="Imagen 91" descr="Icono&#10;&#10;El contenido generado por IA puede ser incorrecto.">
              <a:extLst>
                <a:ext uri="{FF2B5EF4-FFF2-40B4-BE49-F238E27FC236}">
                  <a16:creationId xmlns:a16="http://schemas.microsoft.com/office/drawing/2014/main" id="{F58EB9B4-4E66-61FB-F308-94F7028657F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7028" y="303634"/>
              <a:ext cx="437662" cy="437662"/>
            </a:xfrm>
            <a:prstGeom prst="rect">
              <a:avLst/>
            </a:prstGeom>
          </p:spPr>
        </p:pic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039BC3BB-22F0-18B7-29CB-331782B0CFD4}"/>
              </a:ext>
            </a:extLst>
          </p:cNvPr>
          <p:cNvGrpSpPr/>
          <p:nvPr/>
        </p:nvGrpSpPr>
        <p:grpSpPr>
          <a:xfrm>
            <a:off x="8414066" y="2174582"/>
            <a:ext cx="517029" cy="517029"/>
            <a:chOff x="4177345" y="263951"/>
            <a:chExt cx="517029" cy="517029"/>
          </a:xfrm>
        </p:grpSpPr>
        <p:sp>
          <p:nvSpPr>
            <p:cNvPr id="44" name="Rectángulo: esquinas redondeadas 43">
              <a:extLst>
                <a:ext uri="{FF2B5EF4-FFF2-40B4-BE49-F238E27FC236}">
                  <a16:creationId xmlns:a16="http://schemas.microsoft.com/office/drawing/2014/main" id="{7326E523-1828-A145-3D47-747DD1299760}"/>
                </a:ext>
              </a:extLst>
            </p:cNvPr>
            <p:cNvSpPr/>
            <p:nvPr/>
          </p:nvSpPr>
          <p:spPr>
            <a:xfrm>
              <a:off x="4177345" y="263951"/>
              <a:ext cx="517029" cy="517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F86F3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46" name="Imagen 91" descr="Icono&#10;&#10;El contenido generado por IA puede ser incorrecto.">
              <a:extLst>
                <a:ext uri="{FF2B5EF4-FFF2-40B4-BE49-F238E27FC236}">
                  <a16:creationId xmlns:a16="http://schemas.microsoft.com/office/drawing/2014/main" id="{4D3ACC63-4260-C4C8-04F4-63643E91403D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7028" y="303634"/>
              <a:ext cx="437662" cy="437662"/>
            </a:xfrm>
            <a:prstGeom prst="rect">
              <a:avLst/>
            </a:prstGeom>
          </p:spPr>
        </p:pic>
      </p:grpSp>
      <p:cxnSp>
        <p:nvCxnSpPr>
          <p:cNvPr id="47" name="Conector recto de flecha 46">
            <a:extLst>
              <a:ext uri="{FF2B5EF4-FFF2-40B4-BE49-F238E27FC236}">
                <a16:creationId xmlns:a16="http://schemas.microsoft.com/office/drawing/2014/main" id="{AAA8E4CC-E04C-0861-EDDD-204CB7962DA0}"/>
              </a:ext>
            </a:extLst>
          </p:cNvPr>
          <p:cNvCxnSpPr>
            <a:cxnSpLocks/>
          </p:cNvCxnSpPr>
          <p:nvPr/>
        </p:nvCxnSpPr>
        <p:spPr>
          <a:xfrm flipH="1">
            <a:off x="5665739" y="4100003"/>
            <a:ext cx="705293" cy="0"/>
          </a:xfrm>
          <a:prstGeom prst="straightConnector1">
            <a:avLst/>
          </a:prstGeom>
          <a:ln w="9525">
            <a:solidFill>
              <a:srgbClr val="F86F3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de flecha 14">
            <a:extLst>
              <a:ext uri="{FF2B5EF4-FFF2-40B4-BE49-F238E27FC236}">
                <a16:creationId xmlns:a16="http://schemas.microsoft.com/office/drawing/2014/main" id="{01F85CAB-AE1C-AA6C-AF1C-5BA1821A4A49}"/>
              </a:ext>
            </a:extLst>
          </p:cNvPr>
          <p:cNvCxnSpPr>
            <a:cxnSpLocks/>
          </p:cNvCxnSpPr>
          <p:nvPr/>
        </p:nvCxnSpPr>
        <p:spPr>
          <a:xfrm>
            <a:off x="10982578" y="1704975"/>
            <a:ext cx="0" cy="600280"/>
          </a:xfrm>
          <a:prstGeom prst="straightConnector1">
            <a:avLst/>
          </a:prstGeom>
          <a:ln w="9525">
            <a:solidFill>
              <a:srgbClr val="F86F3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Gráfico 51">
            <a:extLst>
              <a:ext uri="{FF2B5EF4-FFF2-40B4-BE49-F238E27FC236}">
                <a16:creationId xmlns:a16="http://schemas.microsoft.com/office/drawing/2014/main" id="{EA6693FC-0637-9D91-529B-08FAF4CE2E7E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976631" y="2433096"/>
            <a:ext cx="1847561" cy="3412950"/>
          </a:xfrm>
          <a:prstGeom prst="rect">
            <a:avLst/>
          </a:prstGeom>
        </p:spPr>
      </p:pic>
      <p:cxnSp>
        <p:nvCxnSpPr>
          <p:cNvPr id="53" name="Conector recto de flecha 52">
            <a:extLst>
              <a:ext uri="{FF2B5EF4-FFF2-40B4-BE49-F238E27FC236}">
                <a16:creationId xmlns:a16="http://schemas.microsoft.com/office/drawing/2014/main" id="{923DA975-FB03-ADC2-EF35-AD266FBE54D5}"/>
              </a:ext>
            </a:extLst>
          </p:cNvPr>
          <p:cNvCxnSpPr>
            <a:cxnSpLocks/>
          </p:cNvCxnSpPr>
          <p:nvPr/>
        </p:nvCxnSpPr>
        <p:spPr>
          <a:xfrm flipH="1">
            <a:off x="9415818" y="4049953"/>
            <a:ext cx="438161" cy="0"/>
          </a:xfrm>
          <a:prstGeom prst="straightConnector1">
            <a:avLst/>
          </a:prstGeom>
          <a:ln w="9525">
            <a:solidFill>
              <a:srgbClr val="F86F3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Imagen 56">
            <a:extLst>
              <a:ext uri="{FF2B5EF4-FFF2-40B4-BE49-F238E27FC236}">
                <a16:creationId xmlns:a16="http://schemas.microsoft.com/office/drawing/2014/main" id="{BA6A87F6-27CD-2D9C-F483-784C8FE74F47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21515" y="3309860"/>
            <a:ext cx="661412" cy="2381896"/>
          </a:xfrm>
          <a:prstGeom prst="rect">
            <a:avLst/>
          </a:prstGeom>
        </p:spPr>
      </p:pic>
      <p:sp>
        <p:nvSpPr>
          <p:cNvPr id="58" name="Elipse 57">
            <a:extLst>
              <a:ext uri="{FF2B5EF4-FFF2-40B4-BE49-F238E27FC236}">
                <a16:creationId xmlns:a16="http://schemas.microsoft.com/office/drawing/2014/main" id="{B4050FE6-D788-4933-D593-CFC13780819A}"/>
              </a:ext>
            </a:extLst>
          </p:cNvPr>
          <p:cNvSpPr/>
          <p:nvPr/>
        </p:nvSpPr>
        <p:spPr>
          <a:xfrm>
            <a:off x="9900913" y="2213146"/>
            <a:ext cx="478465" cy="478465"/>
          </a:xfrm>
          <a:prstGeom prst="ellipse">
            <a:avLst/>
          </a:prstGeom>
          <a:solidFill>
            <a:srgbClr val="F86F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id="{88B4A11B-2452-D525-636B-EF1A5084D923}"/>
              </a:ext>
            </a:extLst>
          </p:cNvPr>
          <p:cNvSpPr txBox="1"/>
          <p:nvPr/>
        </p:nvSpPr>
        <p:spPr>
          <a:xfrm>
            <a:off x="10002912" y="2305255"/>
            <a:ext cx="2872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rPr>
              <a:t>4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E55289C0-7A87-B133-1CBE-EA2E2041BE13}"/>
              </a:ext>
            </a:extLst>
          </p:cNvPr>
          <p:cNvSpPr txBox="1"/>
          <p:nvPr/>
        </p:nvSpPr>
        <p:spPr>
          <a:xfrm>
            <a:off x="10175779" y="2797793"/>
            <a:ext cx="15723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3F507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st Cases are uploaded to </a:t>
            </a:r>
            <a:r>
              <a:rPr lang="en-US" sz="1200" b="1" dirty="0">
                <a:solidFill>
                  <a:srgbClr val="3F507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ira</a:t>
            </a: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AF3D989D-9424-602F-D73D-840D4DC6136E}"/>
              </a:ext>
            </a:extLst>
          </p:cNvPr>
          <p:cNvSpPr txBox="1"/>
          <p:nvPr/>
        </p:nvSpPr>
        <p:spPr>
          <a:xfrm>
            <a:off x="668063" y="3509079"/>
            <a:ext cx="133305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rgbClr val="3F507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st cases are updated in Jira (status, evidence, etc.)</a:t>
            </a:r>
          </a:p>
        </p:txBody>
      </p:sp>
      <p:cxnSp>
        <p:nvCxnSpPr>
          <p:cNvPr id="68" name="Conector recto de flecha 67">
            <a:extLst>
              <a:ext uri="{FF2B5EF4-FFF2-40B4-BE49-F238E27FC236}">
                <a16:creationId xmlns:a16="http://schemas.microsoft.com/office/drawing/2014/main" id="{2066B466-B133-F4C7-72A5-5ABB8D9B3C75}"/>
              </a:ext>
            </a:extLst>
          </p:cNvPr>
          <p:cNvCxnSpPr>
            <a:cxnSpLocks/>
          </p:cNvCxnSpPr>
          <p:nvPr/>
        </p:nvCxnSpPr>
        <p:spPr>
          <a:xfrm flipH="1">
            <a:off x="2161976" y="3983157"/>
            <a:ext cx="293321" cy="0"/>
          </a:xfrm>
          <a:prstGeom prst="straightConnector1">
            <a:avLst/>
          </a:prstGeom>
          <a:ln w="9525">
            <a:solidFill>
              <a:srgbClr val="F86F3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0" name="Grupo 69">
            <a:extLst>
              <a:ext uri="{FF2B5EF4-FFF2-40B4-BE49-F238E27FC236}">
                <a16:creationId xmlns:a16="http://schemas.microsoft.com/office/drawing/2014/main" id="{AF6E026C-96F1-65BB-DF6D-345AED93F9B4}"/>
              </a:ext>
            </a:extLst>
          </p:cNvPr>
          <p:cNvGrpSpPr/>
          <p:nvPr/>
        </p:nvGrpSpPr>
        <p:grpSpPr>
          <a:xfrm>
            <a:off x="11172144" y="2169910"/>
            <a:ext cx="517029" cy="517029"/>
            <a:chOff x="4177345" y="263951"/>
            <a:chExt cx="517029" cy="517029"/>
          </a:xfrm>
        </p:grpSpPr>
        <p:sp>
          <p:nvSpPr>
            <p:cNvPr id="73" name="Rectángulo: esquinas redondeadas 72">
              <a:extLst>
                <a:ext uri="{FF2B5EF4-FFF2-40B4-BE49-F238E27FC236}">
                  <a16:creationId xmlns:a16="http://schemas.microsoft.com/office/drawing/2014/main" id="{49F60B52-3BAC-7886-E7CA-A5658838AA61}"/>
                </a:ext>
              </a:extLst>
            </p:cNvPr>
            <p:cNvSpPr/>
            <p:nvPr/>
          </p:nvSpPr>
          <p:spPr>
            <a:xfrm>
              <a:off x="4177345" y="263951"/>
              <a:ext cx="517029" cy="517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F86F3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74" name="Imagen 91" descr="Icono&#10;&#10;El contenido generado por IA puede ser incorrecto.">
              <a:extLst>
                <a:ext uri="{FF2B5EF4-FFF2-40B4-BE49-F238E27FC236}">
                  <a16:creationId xmlns:a16="http://schemas.microsoft.com/office/drawing/2014/main" id="{8B88359B-ECB9-6ED7-C3E9-E650C3BCF2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7028" y="303634"/>
              <a:ext cx="437662" cy="437662"/>
            </a:xfrm>
            <a:prstGeom prst="rect">
              <a:avLst/>
            </a:prstGeom>
          </p:spPr>
        </p:pic>
      </p:grpSp>
      <p:pic>
        <p:nvPicPr>
          <p:cNvPr id="81" name="Gráfico 80">
            <a:extLst>
              <a:ext uri="{FF2B5EF4-FFF2-40B4-BE49-F238E27FC236}">
                <a16:creationId xmlns:a16="http://schemas.microsoft.com/office/drawing/2014/main" id="{0D57BB3B-82D6-D503-97C5-2B5B7C45CA3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rcRect/>
          <a:stretch/>
        </p:blipFill>
        <p:spPr>
          <a:xfrm>
            <a:off x="538680" y="3060652"/>
            <a:ext cx="1630679" cy="2717799"/>
          </a:xfrm>
          <a:prstGeom prst="rect">
            <a:avLst/>
          </a:prstGeom>
        </p:spPr>
      </p:pic>
      <p:grpSp>
        <p:nvGrpSpPr>
          <p:cNvPr id="75" name="Grupo 74">
            <a:extLst>
              <a:ext uri="{FF2B5EF4-FFF2-40B4-BE49-F238E27FC236}">
                <a16:creationId xmlns:a16="http://schemas.microsoft.com/office/drawing/2014/main" id="{D40070BC-923E-9979-DD04-80677710B7A2}"/>
              </a:ext>
            </a:extLst>
          </p:cNvPr>
          <p:cNvGrpSpPr/>
          <p:nvPr/>
        </p:nvGrpSpPr>
        <p:grpSpPr>
          <a:xfrm>
            <a:off x="1347687" y="2862443"/>
            <a:ext cx="517029" cy="517029"/>
            <a:chOff x="4177345" y="263951"/>
            <a:chExt cx="517029" cy="517029"/>
          </a:xfrm>
        </p:grpSpPr>
        <p:sp>
          <p:nvSpPr>
            <p:cNvPr id="76" name="Rectángulo: esquinas redondeadas 75">
              <a:extLst>
                <a:ext uri="{FF2B5EF4-FFF2-40B4-BE49-F238E27FC236}">
                  <a16:creationId xmlns:a16="http://schemas.microsoft.com/office/drawing/2014/main" id="{1F2E6E35-B904-E5E2-D054-79E607472CA5}"/>
                </a:ext>
              </a:extLst>
            </p:cNvPr>
            <p:cNvSpPr/>
            <p:nvPr/>
          </p:nvSpPr>
          <p:spPr>
            <a:xfrm>
              <a:off x="4177345" y="263951"/>
              <a:ext cx="517029" cy="517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F86F3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77" name="Imagen 91" descr="Icono&#10;&#10;El contenido generado por IA puede ser incorrecto.">
              <a:extLst>
                <a:ext uri="{FF2B5EF4-FFF2-40B4-BE49-F238E27FC236}">
                  <a16:creationId xmlns:a16="http://schemas.microsoft.com/office/drawing/2014/main" id="{B77D7BC2-91DB-737A-A822-EF56EA23837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7028" y="303634"/>
              <a:ext cx="437662" cy="437662"/>
            </a:xfrm>
            <a:prstGeom prst="rect">
              <a:avLst/>
            </a:prstGeom>
          </p:spPr>
        </p:pic>
      </p:grpSp>
      <p:grpSp>
        <p:nvGrpSpPr>
          <p:cNvPr id="83" name="Grupo 82">
            <a:extLst>
              <a:ext uri="{FF2B5EF4-FFF2-40B4-BE49-F238E27FC236}">
                <a16:creationId xmlns:a16="http://schemas.microsoft.com/office/drawing/2014/main" id="{C339274C-84C2-86E4-CE0E-493B857F9761}"/>
              </a:ext>
            </a:extLst>
          </p:cNvPr>
          <p:cNvGrpSpPr/>
          <p:nvPr/>
        </p:nvGrpSpPr>
        <p:grpSpPr>
          <a:xfrm>
            <a:off x="516061" y="2896333"/>
            <a:ext cx="478465" cy="478465"/>
            <a:chOff x="622002" y="3580307"/>
            <a:chExt cx="478465" cy="478465"/>
          </a:xfrm>
        </p:grpSpPr>
        <p:sp>
          <p:nvSpPr>
            <p:cNvPr id="61" name="Elipse 60">
              <a:extLst>
                <a:ext uri="{FF2B5EF4-FFF2-40B4-BE49-F238E27FC236}">
                  <a16:creationId xmlns:a16="http://schemas.microsoft.com/office/drawing/2014/main" id="{C7FB531F-BE24-2A15-E87C-57FE96C2ADB0}"/>
                </a:ext>
              </a:extLst>
            </p:cNvPr>
            <p:cNvSpPr/>
            <p:nvPr/>
          </p:nvSpPr>
          <p:spPr>
            <a:xfrm>
              <a:off x="622002" y="3580307"/>
              <a:ext cx="478465" cy="478465"/>
            </a:xfrm>
            <a:prstGeom prst="ellipse">
              <a:avLst/>
            </a:prstGeom>
            <a:solidFill>
              <a:srgbClr val="F86F3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CuadroTexto 61">
              <a:extLst>
                <a:ext uri="{FF2B5EF4-FFF2-40B4-BE49-F238E27FC236}">
                  <a16:creationId xmlns:a16="http://schemas.microsoft.com/office/drawing/2014/main" id="{99EF2AB9-E36C-5A41-8E26-6712C1039FD5}"/>
                </a:ext>
              </a:extLst>
            </p:cNvPr>
            <p:cNvSpPr txBox="1"/>
            <p:nvPr/>
          </p:nvSpPr>
          <p:spPr>
            <a:xfrm>
              <a:off x="733014" y="3651044"/>
              <a:ext cx="28725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  <a:latin typeface="Open Sans bold" panose="020B0806030504020204" pitchFamily="34" charset="0"/>
                  <a:ea typeface="Open Sans bold" panose="020B0806030504020204" pitchFamily="34" charset="0"/>
                  <a:cs typeface="Open Sans bold" panose="020B0806030504020204" pitchFamily="34" charset="0"/>
                </a:rPr>
                <a:t>7</a:t>
              </a:r>
            </a:p>
          </p:txBody>
        </p:sp>
      </p:grpSp>
      <p:pic>
        <p:nvPicPr>
          <p:cNvPr id="18" name="Imagen 17">
            <a:extLst>
              <a:ext uri="{FF2B5EF4-FFF2-40B4-BE49-F238E27FC236}">
                <a16:creationId xmlns:a16="http://schemas.microsoft.com/office/drawing/2014/main" id="{4624C482-2A31-9834-337E-356937E154E7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56287" y="4249125"/>
            <a:ext cx="379591" cy="136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634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1A48379-A972-3136-A047-2518AA1E6854}"/>
              </a:ext>
            </a:extLst>
          </p:cNvPr>
          <p:cNvSpPr txBox="1">
            <a:spLocks/>
          </p:cNvSpPr>
          <p:nvPr/>
        </p:nvSpPr>
        <p:spPr>
          <a:xfrm>
            <a:off x="772634" y="408999"/>
            <a:ext cx="10646733" cy="396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kern="1200">
                <a:gradFill flip="none" rotWithShape="1">
                  <a:gsLst>
                    <a:gs pos="0">
                      <a:srgbClr val="FF3306"/>
                    </a:gs>
                    <a:gs pos="100000">
                      <a:srgbClr val="FF7B5D"/>
                    </a:gs>
                  </a:gsLst>
                  <a:lin ang="8400000" scaled="0"/>
                  <a:tileRect/>
                </a:gra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>
                <a:gradFill flip="none">
                  <a:gsLst>
                    <a:gs pos="0">
                      <a:srgbClr val="FF3306"/>
                    </a:gs>
                    <a:gs pos="100000">
                      <a:srgbClr val="FF7B5D"/>
                    </a:gs>
                  </a:gsLst>
                  <a:lin ang="8400000" scaled="0"/>
                  <a:tileRect/>
                </a:gradFill>
                <a:latin typeface="Open Sans ExtraBold"/>
                <a:ea typeface="Open Sans ExtraBold"/>
                <a:cs typeface="Open Sans ExtraBold"/>
              </a:rPr>
              <a:t>STRATIS PROPOSAL &amp; NEXT STEPS</a:t>
            </a:r>
          </a:p>
        </p:txBody>
      </p:sp>
      <p:sp>
        <p:nvSpPr>
          <p:cNvPr id="4" name="CuadroTexto 5">
            <a:extLst>
              <a:ext uri="{FF2B5EF4-FFF2-40B4-BE49-F238E27FC236}">
                <a16:creationId xmlns:a16="http://schemas.microsoft.com/office/drawing/2014/main" id="{FECC4256-4448-F776-9259-5A1B1747E7B1}"/>
              </a:ext>
            </a:extLst>
          </p:cNvPr>
          <p:cNvSpPr txBox="1"/>
          <p:nvPr/>
        </p:nvSpPr>
        <p:spPr>
          <a:xfrm>
            <a:off x="772634" y="1149212"/>
            <a:ext cx="10646733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F5073"/>
                </a:solidFill>
                <a:ea typeface="Calibri"/>
                <a:cs typeface="Calibri"/>
              </a:rPr>
              <a:t>Conduct Assessment of Disputes Product Testing Practices and Automation – </a:t>
            </a:r>
            <a:r>
              <a:rPr lang="en-US" b="1" dirty="0">
                <a:solidFill>
                  <a:srgbClr val="3F5073"/>
                </a:solidFill>
                <a:ea typeface="Calibri"/>
                <a:cs typeface="Calibri"/>
              </a:rPr>
              <a:t>Stratis Investment</a:t>
            </a:r>
            <a:endParaRPr lang="en-US" b="1">
              <a:solidFill>
                <a:srgbClr val="3F5073"/>
              </a:solidFill>
              <a:ea typeface="Calibri"/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F5073"/>
                </a:solidFill>
                <a:ea typeface="Calibri"/>
                <a:cs typeface="Calibri"/>
              </a:rPr>
              <a:t>Present Findings and Recommendations</a:t>
            </a:r>
            <a:endParaRPr lang="en-US" dirty="0">
              <a:solidFill>
                <a:srgbClr val="3F5073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F5073"/>
                </a:solidFill>
              </a:rPr>
              <a:t>Submit approval request to AI Governance Board for AI Testing- </a:t>
            </a:r>
            <a:r>
              <a:rPr lang="en-US" b="1" dirty="0">
                <a:solidFill>
                  <a:srgbClr val="3F5073"/>
                </a:solidFill>
              </a:rPr>
              <a:t>In Paralell</a:t>
            </a:r>
            <a:endParaRPr lang="en-US" b="1" dirty="0">
              <a:ea typeface="Calibri"/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F5073"/>
                </a:solidFill>
              </a:rPr>
              <a:t>Implement Deep Design Methodolog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F5073"/>
                </a:solidFill>
              </a:rPr>
              <a:t>Implement AI-driven testing methodology</a:t>
            </a:r>
          </a:p>
        </p:txBody>
      </p:sp>
    </p:spTree>
    <p:extLst>
      <p:ext uri="{BB962C8B-B14F-4D97-AF65-F5344CB8AC3E}">
        <p14:creationId xmlns:p14="http://schemas.microsoft.com/office/powerpoint/2010/main" val="23728129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04384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.RqRT9Q94M.Moo5IFZ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.RqRT9Q94M.Moo5IFZ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cfc72992-c0ec-42b6-8bb9-7e145b45f030}" enabled="0" method="" siteId="{cfc72992-c0ec-42b6-8bb9-7e145b45f03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7078</TotalTime>
  <Words>612</Words>
  <Application>Microsoft Office PowerPoint</Application>
  <PresentationFormat>Widescreen</PresentationFormat>
  <Paragraphs>187</Paragraphs>
  <Slides>10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heme</vt:lpstr>
      <vt:lpstr>Office Theme</vt:lpstr>
      <vt:lpstr>PowerPoint Presentation</vt:lpstr>
      <vt:lpstr>WE ARE STRATIS</vt:lpstr>
      <vt:lpstr>Our Practic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fredo Sosa</dc:creator>
  <cp:lastModifiedBy>Alfredo Sosa</cp:lastModifiedBy>
  <cp:revision>50</cp:revision>
  <dcterms:created xsi:type="dcterms:W3CDTF">2025-04-10T18:51:13Z</dcterms:created>
  <dcterms:modified xsi:type="dcterms:W3CDTF">2025-06-17T12:23:53Z</dcterms:modified>
</cp:coreProperties>
</file>